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heme/themeOverride1.xml" ContentType="application/vnd.openxmlformats-officedocument.themeOverride+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5"/>
  </p:notesMasterIdLst>
  <p:sldIdLst>
    <p:sldId id="256" r:id="rId5"/>
    <p:sldId id="257" r:id="rId6"/>
    <p:sldId id="258" r:id="rId7"/>
    <p:sldId id="2123258763" r:id="rId8"/>
    <p:sldId id="2146846460" r:id="rId9"/>
    <p:sldId id="2146846461" r:id="rId10"/>
    <p:sldId id="2146846465" r:id="rId11"/>
    <p:sldId id="263" r:id="rId12"/>
    <p:sldId id="2146846466" r:id="rId13"/>
    <p:sldId id="2146846463"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ylor Rozek" initials="TR" lastIdx="1" clrIdx="0">
    <p:extLst>
      <p:ext uri="{19B8F6BF-5375-455C-9EA6-DF929625EA0E}">
        <p15:presenceInfo xmlns:p15="http://schemas.microsoft.com/office/powerpoint/2012/main" userId="S::taylorr@silverfoxprod.com::07d3a2ec-d343-419f-932b-51bf9a7072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7CC89F-F020-C000-1CE9-1FAA4F716A20}" v="49" dt="2021-05-16T14:57:02.620"/>
    <p1510:client id="{1EFDB2F1-3EDE-4907-88DF-AAC2DFE92FD9}" v="90" dt="2021-05-16T14:49:43.641"/>
    <p1510:client id="{3528C7AD-FF5B-414E-ABF6-ABC1253C0726}" v="25" vWet="26" dt="2021-05-16T14:46:47.804"/>
    <p1510:client id="{625A7509-3BEE-4E3A-B552-85675D84023F}" v="4" dt="2021-05-16T15:03:47.507"/>
    <p1510:client id="{6588C93C-5B41-4285-34D4-725CA4B064DF}" v="1" dt="2021-05-16T15:09:12.618"/>
    <p1510:client id="{73BF182F-6494-4B77-B1DC-DCCB27ACF144}" v="32" dt="2021-05-16T14:33:23.048"/>
    <p1510:client id="{76BC247F-A8D8-4428-A9BB-2E84EAEDF203}" v="54" dt="2021-05-16T14:46:32.817"/>
    <p1510:client id="{8DB0B5B0-7A85-4B91-BFE5-9358ED111365}" v="12" dt="2021-05-16T14:48:59.131"/>
    <p1510:client id="{90B73C78-2749-47A0-AC80-7DAAA025B7FB}" v="170" dt="2021-05-16T15:00:40.760"/>
    <p1510:client id="{B2EA5D61-3398-4152-916B-3DA548C2BCFB}" v="397" dt="2021-05-16T14:32:56.876"/>
    <p1510:client id="{B6C6D37B-61E4-4B68-B473-F826467BD801}" v="33" dt="2021-05-16T14:42:00.376"/>
    <p1510:client id="{BAB78B00-7B59-435E-8267-953420239DE7}" v="1" dt="2021-05-18T16:14:10.627"/>
    <p1510:client id="{C02E49CA-EA8E-4D30-BA71-318C5EC4296A}" v="21" dt="2021-05-16T15:47:24.554"/>
    <p1510:client id="{C85FF66C-153A-442E-ACAD-E90897F6FD40}" v="216" dt="2021-05-16T15:30:35.216"/>
    <p1510:client id="{CCC34A6A-75E0-42E3-9631-B2523B7B5B9A}" v="93" dt="2021-05-16T15:04:27.141"/>
    <p1510:client id="{D87B824C-53C5-4FDB-9E13-9CE18EA264D2}" v="6" dt="2021-05-16T14:35:40.780"/>
    <p1510:client id="{DBB89412-A5F7-416C-A2EC-5D0452FE8FAC}" v="857" dt="2021-05-16T15:01:03.803"/>
    <p1510:client id="{FD8FF024-DBEC-4AA5-920D-40EAB2D7D775}" v="60" dt="2021-05-16T14:44:27.0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d Kim" userId="S::tekim_microsoft.com#ext#@devupconforg2.onmicrosoft.com::d8af2d54-d758-46bb-b356-4c84c5318f0a" providerId="AD" clId="Web-{625A7509-3BEE-4E3A-B552-85675D84023F}"/>
    <pc:docChg chg="modSld modMainMaster">
      <pc:chgData name="Ted Kim" userId="S::tekim_microsoft.com#ext#@devupconforg2.onmicrosoft.com::d8af2d54-d758-46bb-b356-4c84c5318f0a" providerId="AD" clId="Web-{625A7509-3BEE-4E3A-B552-85675D84023F}" dt="2021-05-16T15:03:47.507" v="3"/>
      <pc:docMkLst>
        <pc:docMk/>
      </pc:docMkLst>
      <pc:sldChg chg="addSp modSp">
        <pc:chgData name="Ted Kim" userId="S::tekim_microsoft.com#ext#@devupconforg2.onmicrosoft.com::d8af2d54-d758-46bb-b356-4c84c5318f0a" providerId="AD" clId="Web-{625A7509-3BEE-4E3A-B552-85675D84023F}" dt="2021-05-16T15:03:47.507" v="3"/>
        <pc:sldMkLst>
          <pc:docMk/>
          <pc:sldMk cId="777911404" sldId="258"/>
        </pc:sldMkLst>
        <pc:spChg chg="add mod">
          <ac:chgData name="Ted Kim" userId="S::tekim_microsoft.com#ext#@devupconforg2.onmicrosoft.com::d8af2d54-d758-46bb-b356-4c84c5318f0a" providerId="AD" clId="Web-{625A7509-3BEE-4E3A-B552-85675D84023F}" dt="2021-05-16T15:03:47.507" v="3"/>
          <ac:spMkLst>
            <pc:docMk/>
            <pc:sldMk cId="777911404" sldId="258"/>
            <ac:spMk id="5" creationId="{93F8E94A-8624-4FE2-8BFE-C9E5F7AD7E8C}"/>
          </ac:spMkLst>
        </pc:spChg>
      </pc:sldChg>
      <pc:sldMasterChg chg="mod modSldLayout">
        <pc:chgData name="Ted Kim" userId="S::tekim_microsoft.com#ext#@devupconforg2.onmicrosoft.com::d8af2d54-d758-46bb-b356-4c84c5318f0a" providerId="AD" clId="Web-{625A7509-3BEE-4E3A-B552-85675D84023F}" dt="2021-05-16T15:03:47.507" v="3"/>
        <pc:sldMasterMkLst>
          <pc:docMk/>
          <pc:sldMasterMk cId="1404371594" sldId="2147483660"/>
        </pc:sldMasterMkLst>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3182366593" sldId="2147483661"/>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040108791" sldId="2147483662"/>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539049088" sldId="2147483663"/>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3737417097" sldId="2147483664"/>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240886703" sldId="2147483666"/>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940440292" sldId="2147483671"/>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273579872" sldId="2147483672"/>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961054333" sldId="2147483673"/>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654364422" sldId="2147483674"/>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3441147330" sldId="2147483675"/>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3573084083" sldId="2147483676"/>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008190391" sldId="2147483677"/>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052958584" sldId="2147483678"/>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184531387" sldId="2147483679"/>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972301604" sldId="2147483680"/>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530377990" sldId="2147483681"/>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825120280" sldId="2147483682"/>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821005490" sldId="2147483683"/>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821822913" sldId="2147483684"/>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420837946" sldId="2147483685"/>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248571253" sldId="2147483686"/>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855326201" sldId="2147483687"/>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344187714" sldId="2147483688"/>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141098958" sldId="2147483689"/>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058084511" sldId="2147483690"/>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853349449" sldId="2147483691"/>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031111441" sldId="2147483692"/>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4108152321" sldId="2147483693"/>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4241495262" sldId="2147483694"/>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073306364" sldId="2147483695"/>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2795249730" sldId="2147483704"/>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492818010" sldId="2147483705"/>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427349406" sldId="2147483706"/>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283094162" sldId="2147483707"/>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596068128" sldId="2147483708"/>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4063382471" sldId="2147483709"/>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372349861" sldId="2147483710"/>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895156804" sldId="2147483711"/>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77429042" sldId="2147483712"/>
          </pc:sldLayoutMkLst>
        </pc:sldLayoutChg>
        <pc:sldLayoutChg chg="mod">
          <pc:chgData name="Ted Kim" userId="S::tekim_microsoft.com#ext#@devupconforg2.onmicrosoft.com::d8af2d54-d758-46bb-b356-4c84c5318f0a" providerId="AD" clId="Web-{625A7509-3BEE-4E3A-B552-85675D84023F}" dt="2021-05-16T15:03:47.507" v="3"/>
          <pc:sldLayoutMkLst>
            <pc:docMk/>
            <pc:sldMasterMk cId="1404371594" sldId="2147483660"/>
            <pc:sldLayoutMk cId="1658023910" sldId="2147483713"/>
          </pc:sldLayoutMkLst>
        </pc:sldLayoutChg>
      </pc:sldMasterChg>
    </pc:docChg>
  </pc:docChgLst>
  <pc:docChgLst>
    <pc:chgData name="Nickel Wallace" userId="S::cennick_gmail.com#ext#@devupconforg2.onmicrosoft.com::dcc24132-f25e-463d-8dd1-eef67da0d8fb" providerId="AD" clId="Web-{B2EA5D61-3398-4152-916B-3DA548C2BCFB}"/>
    <pc:docChg chg="modSld">
      <pc:chgData name="Nickel Wallace" userId="S::cennick_gmail.com#ext#@devupconforg2.onmicrosoft.com::dcc24132-f25e-463d-8dd1-eef67da0d8fb" providerId="AD" clId="Web-{B2EA5D61-3398-4152-916B-3DA548C2BCFB}" dt="2021-05-16T14:32:56.876" v="238" actId="20577"/>
      <pc:docMkLst>
        <pc:docMk/>
      </pc:docMkLst>
      <pc:sldChg chg="addSp modSp">
        <pc:chgData name="Nickel Wallace" userId="S::cennick_gmail.com#ext#@devupconforg2.onmicrosoft.com::dcc24132-f25e-463d-8dd1-eef67da0d8fb" providerId="AD" clId="Web-{B2EA5D61-3398-4152-916B-3DA548C2BCFB}" dt="2021-05-16T14:32:56.876" v="238" actId="20577"/>
        <pc:sldMkLst>
          <pc:docMk/>
          <pc:sldMk cId="4247509971" sldId="2146846461"/>
        </pc:sldMkLst>
        <pc:spChg chg="mod">
          <ac:chgData name="Nickel Wallace" userId="S::cennick_gmail.com#ext#@devupconforg2.onmicrosoft.com::dcc24132-f25e-463d-8dd1-eef67da0d8fb" providerId="AD" clId="Web-{B2EA5D61-3398-4152-916B-3DA548C2BCFB}" dt="2021-05-16T14:32:56.876" v="238" actId="20577"/>
          <ac:spMkLst>
            <pc:docMk/>
            <pc:sldMk cId="4247509971" sldId="2146846461"/>
            <ac:spMk id="4" creationId="{15298B89-F48B-4006-B7B3-D263E8B6D3D0}"/>
          </ac:spMkLst>
        </pc:spChg>
        <pc:spChg chg="add mod">
          <ac:chgData name="Nickel Wallace" userId="S::cennick_gmail.com#ext#@devupconforg2.onmicrosoft.com::dcc24132-f25e-463d-8dd1-eef67da0d8fb" providerId="AD" clId="Web-{B2EA5D61-3398-4152-916B-3DA548C2BCFB}" dt="2021-05-16T14:29:15.886" v="184" actId="14100"/>
          <ac:spMkLst>
            <pc:docMk/>
            <pc:sldMk cId="4247509971" sldId="2146846461"/>
            <ac:spMk id="7" creationId="{5E0E7B67-49B7-407B-9792-679A29D84D9C}"/>
          </ac:spMkLst>
        </pc:spChg>
        <pc:picChg chg="mod">
          <ac:chgData name="Nickel Wallace" userId="S::cennick_gmail.com#ext#@devupconforg2.onmicrosoft.com::dcc24132-f25e-463d-8dd1-eef67da0d8fb" providerId="AD" clId="Web-{B2EA5D61-3398-4152-916B-3DA548C2BCFB}" dt="2021-05-16T14:31:46.952" v="236" actId="1076"/>
          <ac:picMkLst>
            <pc:docMk/>
            <pc:sldMk cId="4247509971" sldId="2146846461"/>
            <ac:picMk id="6" creationId="{C160F805-3988-4223-9DA7-F36312728355}"/>
          </ac:picMkLst>
        </pc:picChg>
      </pc:sldChg>
    </pc:docChg>
  </pc:docChgLst>
  <pc:docChgLst>
    <pc:chgData name="Saint-Cyr, Mary Rose" userId="S::msaint-cyr_mghihp.edu#ext#@devupconforg2.onmicrosoft.com::416e973b-a230-4403-ad97-333b34b595a6" providerId="AD" clId="Web-{C85FF66C-153A-442E-ACAD-E90897F6FD40}"/>
    <pc:docChg chg="modSld">
      <pc:chgData name="Saint-Cyr, Mary Rose" userId="S::msaint-cyr_mghihp.edu#ext#@devupconforg2.onmicrosoft.com::416e973b-a230-4403-ad97-333b34b595a6" providerId="AD" clId="Web-{C85FF66C-153A-442E-ACAD-E90897F6FD40}" dt="2021-05-16T15:30:35.216" v="138" actId="20577"/>
      <pc:docMkLst>
        <pc:docMk/>
      </pc:docMkLst>
      <pc:sldChg chg="modSp">
        <pc:chgData name="Saint-Cyr, Mary Rose" userId="S::msaint-cyr_mghihp.edu#ext#@devupconforg2.onmicrosoft.com::416e973b-a230-4403-ad97-333b34b595a6" providerId="AD" clId="Web-{C85FF66C-153A-442E-ACAD-E90897F6FD40}" dt="2021-05-16T15:30:35.216" v="138" actId="20577"/>
        <pc:sldMkLst>
          <pc:docMk/>
          <pc:sldMk cId="2472792447" sldId="2146846465"/>
        </pc:sldMkLst>
        <pc:spChg chg="mod">
          <ac:chgData name="Saint-Cyr, Mary Rose" userId="S::msaint-cyr_mghihp.edu#ext#@devupconforg2.onmicrosoft.com::416e973b-a230-4403-ad97-333b34b595a6" providerId="AD" clId="Web-{C85FF66C-153A-442E-ACAD-E90897F6FD40}" dt="2021-05-16T15:30:35.216" v="138" actId="20577"/>
          <ac:spMkLst>
            <pc:docMk/>
            <pc:sldMk cId="2472792447" sldId="2146846465"/>
            <ac:spMk id="3" creationId="{42D8B224-EE04-45FD-B056-79328434281C}"/>
          </ac:spMkLst>
        </pc:spChg>
        <pc:picChg chg="mod">
          <ac:chgData name="Saint-Cyr, Mary Rose" userId="S::msaint-cyr_mghihp.edu#ext#@devupconforg2.onmicrosoft.com::416e973b-a230-4403-ad97-333b34b595a6" providerId="AD" clId="Web-{C85FF66C-153A-442E-ACAD-E90897F6FD40}" dt="2021-05-16T15:27:21.788" v="125" actId="1076"/>
          <ac:picMkLst>
            <pc:docMk/>
            <pc:sldMk cId="2472792447" sldId="2146846465"/>
            <ac:picMk id="4" creationId="{899A1468-082D-4606-8B3E-C935654B21F0}"/>
          </ac:picMkLst>
        </pc:picChg>
        <pc:picChg chg="mod">
          <ac:chgData name="Saint-Cyr, Mary Rose" userId="S::msaint-cyr_mghihp.edu#ext#@devupconforg2.onmicrosoft.com::416e973b-a230-4403-ad97-333b34b595a6" providerId="AD" clId="Web-{C85FF66C-153A-442E-ACAD-E90897F6FD40}" dt="2021-05-16T15:27:28.570" v="127" actId="1076"/>
          <ac:picMkLst>
            <pc:docMk/>
            <pc:sldMk cId="2472792447" sldId="2146846465"/>
            <ac:picMk id="6" creationId="{823D74FF-3709-4DA1-9CAD-91D1574A82A2}"/>
          </ac:picMkLst>
        </pc:picChg>
        <pc:picChg chg="mod">
          <ac:chgData name="Saint-Cyr, Mary Rose" userId="S::msaint-cyr_mghihp.edu#ext#@devupconforg2.onmicrosoft.com::416e973b-a230-4403-ad97-333b34b595a6" providerId="AD" clId="Web-{C85FF66C-153A-442E-ACAD-E90897F6FD40}" dt="2021-05-16T15:28:14.899" v="134" actId="1076"/>
          <ac:picMkLst>
            <pc:docMk/>
            <pc:sldMk cId="2472792447" sldId="2146846465"/>
            <ac:picMk id="8" creationId="{7823AB5A-0E6F-4F38-A6D4-6B5DBB09E388}"/>
          </ac:picMkLst>
        </pc:picChg>
        <pc:picChg chg="mod">
          <ac:chgData name="Saint-Cyr, Mary Rose" userId="S::msaint-cyr_mghihp.edu#ext#@devupconforg2.onmicrosoft.com::416e973b-a230-4403-ad97-333b34b595a6" providerId="AD" clId="Web-{C85FF66C-153A-442E-ACAD-E90897F6FD40}" dt="2021-05-16T15:27:58.321" v="132" actId="1076"/>
          <ac:picMkLst>
            <pc:docMk/>
            <pc:sldMk cId="2472792447" sldId="2146846465"/>
            <ac:picMk id="9" creationId="{DBF1E4C6-ADE9-4368-A8EE-647A1D80F6CB}"/>
          </ac:picMkLst>
        </pc:picChg>
        <pc:picChg chg="mod">
          <ac:chgData name="Saint-Cyr, Mary Rose" userId="S::msaint-cyr_mghihp.edu#ext#@devupconforg2.onmicrosoft.com::416e973b-a230-4403-ad97-333b34b595a6" providerId="AD" clId="Web-{C85FF66C-153A-442E-ACAD-E90897F6FD40}" dt="2021-05-16T15:27:38.930" v="130" actId="1076"/>
          <ac:picMkLst>
            <pc:docMk/>
            <pc:sldMk cId="2472792447" sldId="2146846465"/>
            <ac:picMk id="10" creationId="{32DAEA08-6581-44C9-8261-9B2D7EF88AD4}"/>
          </ac:picMkLst>
        </pc:picChg>
        <pc:picChg chg="mod">
          <ac:chgData name="Saint-Cyr, Mary Rose" userId="S::msaint-cyr_mghihp.edu#ext#@devupconforg2.onmicrosoft.com::416e973b-a230-4403-ad97-333b34b595a6" providerId="AD" clId="Web-{C85FF66C-153A-442E-ACAD-E90897F6FD40}" dt="2021-05-16T15:28:21.103" v="135" actId="1076"/>
          <ac:picMkLst>
            <pc:docMk/>
            <pc:sldMk cId="2472792447" sldId="2146846465"/>
            <ac:picMk id="11" creationId="{EB6CC693-8ED9-49A9-B0B7-1F37EC1D9567}"/>
          </ac:picMkLst>
        </pc:picChg>
        <pc:picChg chg="mod">
          <ac:chgData name="Saint-Cyr, Mary Rose" userId="S::msaint-cyr_mghihp.edu#ext#@devupconforg2.onmicrosoft.com::416e973b-a230-4403-ad97-333b34b595a6" providerId="AD" clId="Web-{C85FF66C-153A-442E-ACAD-E90897F6FD40}" dt="2021-05-16T15:28:25.243" v="136" actId="1076"/>
          <ac:picMkLst>
            <pc:docMk/>
            <pc:sldMk cId="2472792447" sldId="2146846465"/>
            <ac:picMk id="12" creationId="{A1955A67-B76A-4054-AC00-831606D9A51F}"/>
          </ac:picMkLst>
        </pc:picChg>
      </pc:sldChg>
    </pc:docChg>
  </pc:docChgLst>
  <pc:docChgLst>
    <pc:chgData name="Shaina" userId="S::shaina.roe_gmail.com#ext#@devupconforg2.onmicrosoft.com::a49bbd9c-4e0f-4943-b721-f8fbcf944a89" providerId="AD" clId="Web-{137CC89F-F020-C000-1CE9-1FAA4F716A20}"/>
    <pc:docChg chg="modSld">
      <pc:chgData name="Shaina" userId="S::shaina.roe_gmail.com#ext#@devupconforg2.onmicrosoft.com::a49bbd9c-4e0f-4943-b721-f8fbcf944a89" providerId="AD" clId="Web-{137CC89F-F020-C000-1CE9-1FAA4F716A20}" dt="2021-05-16T14:57:02.620" v="20" actId="20577"/>
      <pc:docMkLst>
        <pc:docMk/>
      </pc:docMkLst>
      <pc:sldChg chg="modSp">
        <pc:chgData name="Shaina" userId="S::shaina.roe_gmail.com#ext#@devupconforg2.onmicrosoft.com::a49bbd9c-4e0f-4943-b721-f8fbcf944a89" providerId="AD" clId="Web-{137CC89F-F020-C000-1CE9-1FAA4F716A20}" dt="2021-05-16T14:57:02.620" v="20" actId="20577"/>
        <pc:sldMkLst>
          <pc:docMk/>
          <pc:sldMk cId="2472792447" sldId="2146846465"/>
        </pc:sldMkLst>
        <pc:spChg chg="mod">
          <ac:chgData name="Shaina" userId="S::shaina.roe_gmail.com#ext#@devupconforg2.onmicrosoft.com::a49bbd9c-4e0f-4943-b721-f8fbcf944a89" providerId="AD" clId="Web-{137CC89F-F020-C000-1CE9-1FAA4F716A20}" dt="2021-05-16T14:57:02.620" v="20" actId="20577"/>
          <ac:spMkLst>
            <pc:docMk/>
            <pc:sldMk cId="2472792447" sldId="2146846465"/>
            <ac:spMk id="3" creationId="{42D8B224-EE04-45FD-B056-79328434281C}"/>
          </ac:spMkLst>
        </pc:spChg>
      </pc:sldChg>
    </pc:docChg>
  </pc:docChgLst>
  <pc:docChgLst>
    <pc:chgData name="Ilene Quilty [Organizer]" userId="S::iquilty_its.jnj.com#ext#@devupconforg2.onmicrosoft.com::a17d4649-d529-4b8a-b9db-0621bd935f36" providerId="AD" clId="Web-{BAB78B00-7B59-435E-8267-953420239DE7}"/>
    <pc:docChg chg="modSld">
      <pc:chgData name="Ilene Quilty [Organizer]" userId="S::iquilty_its.jnj.com#ext#@devupconforg2.onmicrosoft.com::a17d4649-d529-4b8a-b9db-0621bd935f36" providerId="AD" clId="Web-{BAB78B00-7B59-435E-8267-953420239DE7}" dt="2021-05-18T16:14:10.627" v="0" actId="1076"/>
      <pc:docMkLst>
        <pc:docMk/>
      </pc:docMkLst>
      <pc:sldChg chg="modSp">
        <pc:chgData name="Ilene Quilty [Organizer]" userId="S::iquilty_its.jnj.com#ext#@devupconforg2.onmicrosoft.com::a17d4649-d529-4b8a-b9db-0621bd935f36" providerId="AD" clId="Web-{BAB78B00-7B59-435E-8267-953420239DE7}" dt="2021-05-18T16:14:10.627" v="0" actId="1076"/>
        <pc:sldMkLst>
          <pc:docMk/>
          <pc:sldMk cId="2528061646" sldId="2123258763"/>
        </pc:sldMkLst>
        <pc:grpChg chg="mod">
          <ac:chgData name="Ilene Quilty [Organizer]" userId="S::iquilty_its.jnj.com#ext#@devupconforg2.onmicrosoft.com::a17d4649-d529-4b8a-b9db-0621bd935f36" providerId="AD" clId="Web-{BAB78B00-7B59-435E-8267-953420239DE7}" dt="2021-05-18T16:14:10.627" v="0" actId="1076"/>
          <ac:grpSpMkLst>
            <pc:docMk/>
            <pc:sldMk cId="2528061646" sldId="2123258763"/>
            <ac:grpSpMk id="14" creationId="{08541106-AF50-42D3-8EBD-2459B89CDC71}"/>
          </ac:grpSpMkLst>
        </pc:grpChg>
        <pc:cxnChg chg="mod">
          <ac:chgData name="Ilene Quilty [Organizer]" userId="S::iquilty_its.jnj.com#ext#@devupconforg2.onmicrosoft.com::a17d4649-d529-4b8a-b9db-0621bd935f36" providerId="AD" clId="Web-{BAB78B00-7B59-435E-8267-953420239DE7}" dt="2021-05-18T16:14:10.627" v="0" actId="1076"/>
          <ac:cxnSpMkLst>
            <pc:docMk/>
            <pc:sldMk cId="2528061646" sldId="2123258763"/>
            <ac:cxnSpMk id="19" creationId="{F65A6586-AD07-4F92-A3A2-915D4711CF2A}"/>
          </ac:cxnSpMkLst>
        </pc:cxnChg>
      </pc:sldChg>
    </pc:docChg>
  </pc:docChgLst>
  <pc:docChgLst>
    <pc:chgData name="Nickel Wallace" userId="S::cennick_gmail.com#ext#@devupconforg2.onmicrosoft.com::dcc24132-f25e-463d-8dd1-eef67da0d8fb" providerId="AD" clId="Web-{FD8FF024-DBEC-4AA5-920D-40EAB2D7D775}"/>
    <pc:docChg chg="modSld modMainMaster">
      <pc:chgData name="Nickel Wallace" userId="S::cennick_gmail.com#ext#@devupconforg2.onmicrosoft.com::dcc24132-f25e-463d-8dd1-eef67da0d8fb" providerId="AD" clId="Web-{FD8FF024-DBEC-4AA5-920D-40EAB2D7D775}" dt="2021-05-16T14:44:27.079" v="53"/>
      <pc:docMkLst>
        <pc:docMk/>
      </pc:docMkLst>
      <pc:sldChg chg="addSp delSp modSp">
        <pc:chgData name="Nickel Wallace" userId="S::cennick_gmail.com#ext#@devupconforg2.onmicrosoft.com::dcc24132-f25e-463d-8dd1-eef67da0d8fb" providerId="AD" clId="Web-{FD8FF024-DBEC-4AA5-920D-40EAB2D7D775}" dt="2021-05-16T14:44:27.079" v="53"/>
        <pc:sldMkLst>
          <pc:docMk/>
          <pc:sldMk cId="777911404" sldId="258"/>
        </pc:sldMkLst>
        <pc:spChg chg="add del">
          <ac:chgData name="Nickel Wallace" userId="S::cennick_gmail.com#ext#@devupconforg2.onmicrosoft.com::dcc24132-f25e-463d-8dd1-eef67da0d8fb" providerId="AD" clId="Web-{FD8FF024-DBEC-4AA5-920D-40EAB2D7D775}" dt="2021-05-16T14:43:09.531" v="39"/>
          <ac:spMkLst>
            <pc:docMk/>
            <pc:sldMk cId="777911404" sldId="258"/>
            <ac:spMk id="4" creationId="{9E6C1140-90DF-4BAF-80EA-D8A3C69691F8}"/>
          </ac:spMkLst>
        </pc:spChg>
        <pc:spChg chg="add del mod">
          <ac:chgData name="Nickel Wallace" userId="S::cennick_gmail.com#ext#@devupconforg2.onmicrosoft.com::dcc24132-f25e-463d-8dd1-eef67da0d8fb" providerId="AD" clId="Web-{FD8FF024-DBEC-4AA5-920D-40EAB2D7D775}" dt="2021-05-16T14:43:01.124" v="37"/>
          <ac:spMkLst>
            <pc:docMk/>
            <pc:sldMk cId="777911404" sldId="258"/>
            <ac:spMk id="5" creationId="{B62839E9-0B59-49DB-B2EC-81FEEE5505C8}"/>
          </ac:spMkLst>
        </pc:spChg>
        <pc:spChg chg="add del mod">
          <ac:chgData name="Nickel Wallace" userId="S::cennick_gmail.com#ext#@devupconforg2.onmicrosoft.com::dcc24132-f25e-463d-8dd1-eef67da0d8fb" providerId="AD" clId="Web-{FD8FF024-DBEC-4AA5-920D-40EAB2D7D775}" dt="2021-05-16T14:43:02.874" v="38"/>
          <ac:spMkLst>
            <pc:docMk/>
            <pc:sldMk cId="777911404" sldId="258"/>
            <ac:spMk id="6" creationId="{B078C48A-BD8E-47B4-9BBF-D35E72D22C73}"/>
          </ac:spMkLst>
        </pc:spChg>
        <pc:spChg chg="add del mod">
          <ac:chgData name="Nickel Wallace" userId="S::cennick_gmail.com#ext#@devupconforg2.onmicrosoft.com::dcc24132-f25e-463d-8dd1-eef67da0d8fb" providerId="AD" clId="Web-{FD8FF024-DBEC-4AA5-920D-40EAB2D7D775}" dt="2021-05-16T14:43:21.828" v="42"/>
          <ac:spMkLst>
            <pc:docMk/>
            <pc:sldMk cId="777911404" sldId="258"/>
            <ac:spMk id="7" creationId="{AAEE13BC-F8F8-4C21-9C2D-F17381015FC9}"/>
          </ac:spMkLst>
        </pc:spChg>
        <pc:spChg chg="add del mod">
          <ac:chgData name="Nickel Wallace" userId="S::cennick_gmail.com#ext#@devupconforg2.onmicrosoft.com::dcc24132-f25e-463d-8dd1-eef67da0d8fb" providerId="AD" clId="Web-{FD8FF024-DBEC-4AA5-920D-40EAB2D7D775}" dt="2021-05-16T14:44:27.079" v="53"/>
          <ac:spMkLst>
            <pc:docMk/>
            <pc:sldMk cId="777911404" sldId="258"/>
            <ac:spMk id="8" creationId="{B82EADD2-DE3F-4845-A9E2-2FCEDF67F223}"/>
          </ac:spMkLst>
        </pc:spChg>
      </pc:sldChg>
      <pc:sldChg chg="addSp delSp modSp">
        <pc:chgData name="Nickel Wallace" userId="S::cennick_gmail.com#ext#@devupconforg2.onmicrosoft.com::dcc24132-f25e-463d-8dd1-eef67da0d8fb" providerId="AD" clId="Web-{FD8FF024-DBEC-4AA5-920D-40EAB2D7D775}" dt="2021-05-16T14:42:41.702" v="26"/>
        <pc:sldMkLst>
          <pc:docMk/>
          <pc:sldMk cId="3673381248" sldId="263"/>
        </pc:sldMkLst>
        <pc:spChg chg="add del mod">
          <ac:chgData name="Nickel Wallace" userId="S::cennick_gmail.com#ext#@devupconforg2.onmicrosoft.com::dcc24132-f25e-463d-8dd1-eef67da0d8fb" providerId="AD" clId="Web-{FD8FF024-DBEC-4AA5-920D-40EAB2D7D775}" dt="2021-05-16T14:42:41.702" v="26"/>
          <ac:spMkLst>
            <pc:docMk/>
            <pc:sldMk cId="3673381248" sldId="263"/>
            <ac:spMk id="3" creationId="{AC0601E1-22C9-427B-86E3-7EF21FF8E8DB}"/>
          </ac:spMkLst>
        </pc:spChg>
      </pc:sldChg>
      <pc:sldChg chg="addSp delSp modSp">
        <pc:chgData name="Nickel Wallace" userId="S::cennick_gmail.com#ext#@devupconforg2.onmicrosoft.com::dcc24132-f25e-463d-8dd1-eef67da0d8fb" providerId="AD" clId="Web-{FD8FF024-DBEC-4AA5-920D-40EAB2D7D775}" dt="2021-05-16T14:42:41.702" v="26"/>
        <pc:sldMkLst>
          <pc:docMk/>
          <pc:sldMk cId="2472792447" sldId="2146846465"/>
        </pc:sldMkLst>
        <pc:spChg chg="add del mod">
          <ac:chgData name="Nickel Wallace" userId="S::cennick_gmail.com#ext#@devupconforg2.onmicrosoft.com::dcc24132-f25e-463d-8dd1-eef67da0d8fb" providerId="AD" clId="Web-{FD8FF024-DBEC-4AA5-920D-40EAB2D7D775}" dt="2021-05-16T14:42:41.702" v="26"/>
          <ac:spMkLst>
            <pc:docMk/>
            <pc:sldMk cId="2472792447" sldId="2146846465"/>
            <ac:spMk id="12" creationId="{4E80339D-DBA3-44C2-9767-A818F7447D8E}"/>
          </ac:spMkLst>
        </pc:spChg>
      </pc:sldChg>
      <pc:sldChg chg="addSp delSp modSp">
        <pc:chgData name="Nickel Wallace" userId="S::cennick_gmail.com#ext#@devupconforg2.onmicrosoft.com::dcc24132-f25e-463d-8dd1-eef67da0d8fb" providerId="AD" clId="Web-{FD8FF024-DBEC-4AA5-920D-40EAB2D7D775}" dt="2021-05-16T14:42:41.702" v="26"/>
        <pc:sldMkLst>
          <pc:docMk/>
          <pc:sldMk cId="1853223607" sldId="2146846466"/>
        </pc:sldMkLst>
        <pc:spChg chg="add del mod">
          <ac:chgData name="Nickel Wallace" userId="S::cennick_gmail.com#ext#@devupconforg2.onmicrosoft.com::dcc24132-f25e-463d-8dd1-eef67da0d8fb" providerId="AD" clId="Web-{FD8FF024-DBEC-4AA5-920D-40EAB2D7D775}" dt="2021-05-16T14:42:41.702" v="26"/>
          <ac:spMkLst>
            <pc:docMk/>
            <pc:sldMk cId="1853223607" sldId="2146846466"/>
            <ac:spMk id="2" creationId="{AC987F4E-D1D5-4DB6-9684-1BAF199A72FC}"/>
          </ac:spMkLst>
        </pc:spChg>
        <pc:spChg chg="add del mod">
          <ac:chgData name="Nickel Wallace" userId="S::cennick_gmail.com#ext#@devupconforg2.onmicrosoft.com::dcc24132-f25e-463d-8dd1-eef67da0d8fb" providerId="AD" clId="Web-{FD8FF024-DBEC-4AA5-920D-40EAB2D7D775}" dt="2021-05-16T14:42:41.702" v="26"/>
          <ac:spMkLst>
            <pc:docMk/>
            <pc:sldMk cId="1853223607" sldId="2146846466"/>
            <ac:spMk id="3" creationId="{8B82A1D3-4560-4266-8B4D-B73E1F2C7E41}"/>
          </ac:spMkLst>
        </pc:spChg>
      </pc:sldChg>
      <pc:sldMasterChg chg="mod modSldLayout">
        <pc:chgData name="Nickel Wallace" userId="S::cennick_gmail.com#ext#@devupconforg2.onmicrosoft.com::dcc24132-f25e-463d-8dd1-eef67da0d8fb" providerId="AD" clId="Web-{FD8FF024-DBEC-4AA5-920D-40EAB2D7D775}" dt="2021-05-16T14:42:41.702" v="26"/>
        <pc:sldMasterMkLst>
          <pc:docMk/>
          <pc:sldMasterMk cId="1404371594" sldId="2147483714"/>
        </pc:sldMasterMkLst>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3182366593" sldId="2147483661"/>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040108791" sldId="2147483662"/>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539049088" sldId="2147483663"/>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3737417097" sldId="2147483664"/>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240886703" sldId="2147483666"/>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940440292" sldId="2147483671"/>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273579872" sldId="2147483672"/>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961054333" sldId="2147483673"/>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654364422" sldId="2147483674"/>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3441147330" sldId="2147483675"/>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3573084083" sldId="2147483676"/>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008190391" sldId="2147483677"/>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052958584" sldId="2147483678"/>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184531387" sldId="2147483679"/>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972301604" sldId="2147483680"/>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530377990" sldId="2147483681"/>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825120280" sldId="2147483682"/>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821005490" sldId="2147483683"/>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821822913" sldId="2147483684"/>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420837946" sldId="2147483685"/>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248571253" sldId="2147483686"/>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855326201" sldId="2147483687"/>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344187714" sldId="2147483688"/>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141098958" sldId="2147483689"/>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058084511" sldId="2147483690"/>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853349449" sldId="2147483691"/>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031111441" sldId="2147483692"/>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4108152321" sldId="2147483693"/>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4241495262" sldId="2147483694"/>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073306364" sldId="2147483695"/>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2795249730" sldId="2147483704"/>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492818010" sldId="2147483705"/>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427349406" sldId="2147483706"/>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283094162" sldId="2147483707"/>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596068128" sldId="2147483708"/>
          </pc:sldLayoutMkLst>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4063382471" sldId="2147483709"/>
          </pc:sldLayoutMkLst>
        </pc:sldLayoutChg>
        <pc:sldLayoutChg chg="modSp 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372349861" sldId="2147483710"/>
          </pc:sldLayoutMkLst>
          <pc:spChg chg="mod">
            <ac:chgData name="Nickel Wallace" userId="S::cennick_gmail.com#ext#@devupconforg2.onmicrosoft.com::dcc24132-f25e-463d-8dd1-eef67da0d8fb" providerId="AD" clId="Web-{FD8FF024-DBEC-4AA5-920D-40EAB2D7D775}" dt="2021-05-16T14:42:41.702" v="26"/>
            <ac:spMkLst>
              <pc:docMk/>
              <pc:sldMasterMk cId="1404371594" sldId="2147483660"/>
              <pc:sldLayoutMk cId="372349861" sldId="2147483710"/>
              <ac:spMk id="7" creationId="{7397557A-B9E9-4375-BD93-C4F91A780396}"/>
            </ac:spMkLst>
          </pc:spChg>
        </pc:sldLayoutChg>
        <pc:sldLayoutChg chg="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895156804" sldId="2147483711"/>
          </pc:sldLayoutMkLst>
        </pc:sldLayoutChg>
        <pc:sldLayoutChg chg="modSp 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658023910" sldId="2147483713"/>
          </pc:sldLayoutMkLst>
          <pc:spChg chg="mod">
            <ac:chgData name="Nickel Wallace" userId="S::cennick_gmail.com#ext#@devupconforg2.onmicrosoft.com::dcc24132-f25e-463d-8dd1-eef67da0d8fb" providerId="AD" clId="Web-{FD8FF024-DBEC-4AA5-920D-40EAB2D7D775}" dt="2021-05-16T14:42:41.702" v="26"/>
            <ac:spMkLst>
              <pc:docMk/>
              <pc:sldMasterMk cId="1404371594" sldId="2147483660"/>
              <pc:sldLayoutMk cId="1658023910" sldId="2147483713"/>
              <ac:spMk id="4" creationId="{1828F2BE-04D0-4952-849E-6909AD3A60E9}"/>
            </ac:spMkLst>
          </pc:spChg>
        </pc:sldLayoutChg>
        <pc:sldLayoutChg chg="modSp mod">
          <pc:chgData name="Nickel Wallace" userId="S::cennick_gmail.com#ext#@devupconforg2.onmicrosoft.com::dcc24132-f25e-463d-8dd1-eef67da0d8fb" providerId="AD" clId="Web-{FD8FF024-DBEC-4AA5-920D-40EAB2D7D775}" dt="2021-05-16T14:42:41.702" v="26"/>
          <pc:sldLayoutMkLst>
            <pc:docMk/>
            <pc:sldMasterMk cId="1404371594" sldId="2147483660"/>
            <pc:sldLayoutMk cId="177429042" sldId="2147483715"/>
          </pc:sldLayoutMkLst>
          <pc:spChg chg="mod">
            <ac:chgData name="Nickel Wallace" userId="S::cennick_gmail.com#ext#@devupconforg2.onmicrosoft.com::dcc24132-f25e-463d-8dd1-eef67da0d8fb" providerId="AD" clId="Web-{FD8FF024-DBEC-4AA5-920D-40EAB2D7D775}" dt="2021-05-16T14:42:41.702" v="26"/>
            <ac:spMkLst>
              <pc:docMk/>
              <pc:sldMasterMk cId="1404371594" sldId="2147483660"/>
              <pc:sldLayoutMk cId="177429042" sldId="2147483715"/>
              <ac:spMk id="5" creationId="{5A9923C6-C6BB-45F6-968C-6482A42F09A3}"/>
            </ac:spMkLst>
          </pc:spChg>
        </pc:sldLayoutChg>
      </pc:sldMasterChg>
    </pc:docChg>
  </pc:docChgLst>
  <pc:docChgLst>
    <pc:chgData name="Lisa Stapleton" userId="95caff6d-abc5-4f11-8482-2d7a53f41be6" providerId="ADAL" clId="{DBB89412-A5F7-416C-A2EC-5D0452FE8FAC}"/>
    <pc:docChg chg="custSel addSld delSld modSld">
      <pc:chgData name="Lisa Stapleton" userId="95caff6d-abc5-4f11-8482-2d7a53f41be6" providerId="ADAL" clId="{DBB89412-A5F7-416C-A2EC-5D0452FE8FAC}" dt="2021-05-16T15:01:03.803" v="854" actId="6549"/>
      <pc:docMkLst>
        <pc:docMk/>
      </pc:docMkLst>
      <pc:sldChg chg="modSp mod">
        <pc:chgData name="Lisa Stapleton" userId="95caff6d-abc5-4f11-8482-2d7a53f41be6" providerId="ADAL" clId="{DBB89412-A5F7-416C-A2EC-5D0452FE8FAC}" dt="2021-05-16T15:01:03.803" v="854" actId="6549"/>
        <pc:sldMkLst>
          <pc:docMk/>
          <pc:sldMk cId="3372623878" sldId="2146846460"/>
        </pc:sldMkLst>
        <pc:spChg chg="mod">
          <ac:chgData name="Lisa Stapleton" userId="95caff6d-abc5-4f11-8482-2d7a53f41be6" providerId="ADAL" clId="{DBB89412-A5F7-416C-A2EC-5D0452FE8FAC}" dt="2021-05-16T15:01:03.803" v="854" actId="6549"/>
          <ac:spMkLst>
            <pc:docMk/>
            <pc:sldMk cId="3372623878" sldId="2146846460"/>
            <ac:spMk id="20" creationId="{95190CF8-BAB2-476D-B152-D8D57F2A0D64}"/>
          </ac:spMkLst>
        </pc:spChg>
        <pc:spChg chg="mod">
          <ac:chgData name="Lisa Stapleton" userId="95caff6d-abc5-4f11-8482-2d7a53f41be6" providerId="ADAL" clId="{DBB89412-A5F7-416C-A2EC-5D0452FE8FAC}" dt="2021-05-16T15:00:47.417" v="851" actId="21"/>
          <ac:spMkLst>
            <pc:docMk/>
            <pc:sldMk cId="3372623878" sldId="2146846460"/>
            <ac:spMk id="21" creationId="{1D82C597-8FDF-4F96-AF15-F84BBF4E2A4B}"/>
          </ac:spMkLst>
        </pc:spChg>
        <pc:spChg chg="mod">
          <ac:chgData name="Lisa Stapleton" userId="95caff6d-abc5-4f11-8482-2d7a53f41be6" providerId="ADAL" clId="{DBB89412-A5F7-416C-A2EC-5D0452FE8FAC}" dt="2021-05-16T14:56:51.788" v="425" actId="20577"/>
          <ac:spMkLst>
            <pc:docMk/>
            <pc:sldMk cId="3372623878" sldId="2146846460"/>
            <ac:spMk id="22" creationId="{3860DF7E-F49E-4E22-94A6-EBF0BEED73D4}"/>
          </ac:spMkLst>
        </pc:spChg>
        <pc:spChg chg="mod">
          <ac:chgData name="Lisa Stapleton" userId="95caff6d-abc5-4f11-8482-2d7a53f41be6" providerId="ADAL" clId="{DBB89412-A5F7-416C-A2EC-5D0452FE8FAC}" dt="2021-05-16T15:00:52.322" v="853" actId="20577"/>
          <ac:spMkLst>
            <pc:docMk/>
            <pc:sldMk cId="3372623878" sldId="2146846460"/>
            <ac:spMk id="23" creationId="{5144CE2F-7318-4D3B-A045-D8097F3AAB69}"/>
          </ac:spMkLst>
        </pc:spChg>
      </pc:sldChg>
      <pc:sldChg chg="addSp delSp modSp mod">
        <pc:chgData name="Lisa Stapleton" userId="95caff6d-abc5-4f11-8482-2d7a53f41be6" providerId="ADAL" clId="{DBB89412-A5F7-416C-A2EC-5D0452FE8FAC}" dt="2021-05-16T14:56:26.601" v="413" actId="20577"/>
        <pc:sldMkLst>
          <pc:docMk/>
          <pc:sldMk cId="4247509971" sldId="2146846461"/>
        </pc:sldMkLst>
        <pc:spChg chg="mod">
          <ac:chgData name="Lisa Stapleton" userId="95caff6d-abc5-4f11-8482-2d7a53f41be6" providerId="ADAL" clId="{DBB89412-A5F7-416C-A2EC-5D0452FE8FAC}" dt="2021-05-16T14:56:26.601" v="413" actId="20577"/>
          <ac:spMkLst>
            <pc:docMk/>
            <pc:sldMk cId="4247509971" sldId="2146846461"/>
            <ac:spMk id="4" creationId="{15298B89-F48B-4006-B7B3-D263E8B6D3D0}"/>
          </ac:spMkLst>
        </pc:spChg>
        <pc:picChg chg="del">
          <ac:chgData name="Lisa Stapleton" userId="95caff6d-abc5-4f11-8482-2d7a53f41be6" providerId="ADAL" clId="{DBB89412-A5F7-416C-A2EC-5D0452FE8FAC}" dt="2021-05-16T14:52:12.146" v="0" actId="478"/>
          <ac:picMkLst>
            <pc:docMk/>
            <pc:sldMk cId="4247509971" sldId="2146846461"/>
            <ac:picMk id="3" creationId="{B6E0DDFD-A034-43AF-9FCF-90B85D0AC8D0}"/>
          </ac:picMkLst>
        </pc:picChg>
        <pc:picChg chg="add mod">
          <ac:chgData name="Lisa Stapleton" userId="95caff6d-abc5-4f11-8482-2d7a53f41be6" providerId="ADAL" clId="{DBB89412-A5F7-416C-A2EC-5D0452FE8FAC}" dt="2021-05-16T14:52:18.799" v="3" actId="14100"/>
          <ac:picMkLst>
            <pc:docMk/>
            <pc:sldMk cId="4247509971" sldId="2146846461"/>
            <ac:picMk id="5" creationId="{F60E4ACD-8C64-4CBE-96D5-0FC22F69A2FD}"/>
          </ac:picMkLst>
        </pc:picChg>
        <pc:picChg chg="mod">
          <ac:chgData name="Lisa Stapleton" userId="95caff6d-abc5-4f11-8482-2d7a53f41be6" providerId="ADAL" clId="{DBB89412-A5F7-416C-A2EC-5D0452FE8FAC}" dt="2021-05-16T14:54:04.410" v="207" actId="1076"/>
          <ac:picMkLst>
            <pc:docMk/>
            <pc:sldMk cId="4247509971" sldId="2146846461"/>
            <ac:picMk id="6" creationId="{C160F805-3988-4223-9DA7-F36312728355}"/>
          </ac:picMkLst>
        </pc:picChg>
      </pc:sldChg>
      <pc:sldChg chg="del">
        <pc:chgData name="Lisa Stapleton" userId="95caff6d-abc5-4f11-8482-2d7a53f41be6" providerId="ADAL" clId="{DBB89412-A5F7-416C-A2EC-5D0452FE8FAC}" dt="2021-05-16T14:57:20.389" v="429" actId="2696"/>
        <pc:sldMkLst>
          <pc:docMk/>
          <pc:sldMk cId="3892763714" sldId="2146846462"/>
        </pc:sldMkLst>
      </pc:sldChg>
      <pc:sldChg chg="modSp mod">
        <pc:chgData name="Lisa Stapleton" userId="95caff6d-abc5-4f11-8482-2d7a53f41be6" providerId="ADAL" clId="{DBB89412-A5F7-416C-A2EC-5D0452FE8FAC}" dt="2021-05-16T14:58:11.610" v="560" actId="20577"/>
        <pc:sldMkLst>
          <pc:docMk/>
          <pc:sldMk cId="2472792447" sldId="2146846465"/>
        </pc:sldMkLst>
        <pc:spChg chg="mod">
          <ac:chgData name="Lisa Stapleton" userId="95caff6d-abc5-4f11-8482-2d7a53f41be6" providerId="ADAL" clId="{DBB89412-A5F7-416C-A2EC-5D0452FE8FAC}" dt="2021-05-16T14:58:11.610" v="560" actId="20577"/>
          <ac:spMkLst>
            <pc:docMk/>
            <pc:sldMk cId="2472792447" sldId="2146846465"/>
            <ac:spMk id="3" creationId="{42D8B224-EE04-45FD-B056-79328434281C}"/>
          </ac:spMkLst>
        </pc:spChg>
      </pc:sldChg>
      <pc:sldChg chg="add del">
        <pc:chgData name="Lisa Stapleton" userId="95caff6d-abc5-4f11-8482-2d7a53f41be6" providerId="ADAL" clId="{DBB89412-A5F7-416C-A2EC-5D0452FE8FAC}" dt="2021-05-16T14:57:24.045" v="430" actId="2696"/>
        <pc:sldMkLst>
          <pc:docMk/>
          <pc:sldMk cId="1168451954" sldId="2146846467"/>
        </pc:sldMkLst>
      </pc:sldChg>
    </pc:docChg>
  </pc:docChgLst>
  <pc:docChgLst>
    <pc:chgData name="Nickel Wallace" userId="S::cennick_gmail.com#ext#@devupconforg2.onmicrosoft.com::dcc24132-f25e-463d-8dd1-eef67da0d8fb" providerId="AD" clId="Web-{CCC34A6A-75E0-42E3-9631-B2523B7B5B9A}"/>
    <pc:docChg chg="mod modSld modMainMaster">
      <pc:chgData name="Nickel Wallace" userId="S::cennick_gmail.com#ext#@devupconforg2.onmicrosoft.com::dcc24132-f25e-463d-8dd1-eef67da0d8fb" providerId="AD" clId="Web-{CCC34A6A-75E0-42E3-9631-B2523B7B5B9A}" dt="2021-05-16T15:04:27.141" v="67" actId="1076"/>
      <pc:docMkLst>
        <pc:docMk/>
      </pc:docMkLst>
      <pc:sldChg chg="addSp delSp modSp">
        <pc:chgData name="Nickel Wallace" userId="S::cennick_gmail.com#ext#@devupconforg2.onmicrosoft.com::dcc24132-f25e-463d-8dd1-eef67da0d8fb" providerId="AD" clId="Web-{CCC34A6A-75E0-42E3-9631-B2523B7B5B9A}" dt="2021-05-16T15:00:18.643" v="31" actId="20577"/>
        <pc:sldMkLst>
          <pc:docMk/>
          <pc:sldMk cId="2576318464" sldId="257"/>
        </pc:sldMkLst>
        <pc:spChg chg="add del">
          <ac:chgData name="Nickel Wallace" userId="S::cennick_gmail.com#ext#@devupconforg2.onmicrosoft.com::dcc24132-f25e-463d-8dd1-eef67da0d8fb" providerId="AD" clId="Web-{CCC34A6A-75E0-42E3-9631-B2523B7B5B9A}" dt="2021-05-16T14:58:35.575" v="7"/>
          <ac:spMkLst>
            <pc:docMk/>
            <pc:sldMk cId="2576318464" sldId="257"/>
            <ac:spMk id="3" creationId="{3E63BED4-86F4-410F-8156-77EE2ECF478B}"/>
          </ac:spMkLst>
        </pc:spChg>
        <pc:spChg chg="add del mod">
          <ac:chgData name="Nickel Wallace" userId="S::cennick_gmail.com#ext#@devupconforg2.onmicrosoft.com::dcc24132-f25e-463d-8dd1-eef67da0d8fb" providerId="AD" clId="Web-{CCC34A6A-75E0-42E3-9631-B2523B7B5B9A}" dt="2021-05-16T14:58:32.106" v="6"/>
          <ac:spMkLst>
            <pc:docMk/>
            <pc:sldMk cId="2576318464" sldId="257"/>
            <ac:spMk id="4" creationId="{7ECC21BB-618A-48BA-9484-6265B8E890B8}"/>
          </ac:spMkLst>
        </pc:spChg>
        <pc:spChg chg="add mod">
          <ac:chgData name="Nickel Wallace" userId="S::cennick_gmail.com#ext#@devupconforg2.onmicrosoft.com::dcc24132-f25e-463d-8dd1-eef67da0d8fb" providerId="AD" clId="Web-{CCC34A6A-75E0-42E3-9631-B2523B7B5B9A}" dt="2021-05-16T15:00:18.643" v="31" actId="20577"/>
          <ac:spMkLst>
            <pc:docMk/>
            <pc:sldMk cId="2576318464" sldId="257"/>
            <ac:spMk id="5" creationId="{516445FC-A5A0-4C43-A7F1-08919D615FDA}"/>
          </ac:spMkLst>
        </pc:spChg>
      </pc:sldChg>
      <pc:sldChg chg="addSp delSp modSp">
        <pc:chgData name="Nickel Wallace" userId="S::cennick_gmail.com#ext#@devupconforg2.onmicrosoft.com::dcc24132-f25e-463d-8dd1-eef67da0d8fb" providerId="AD" clId="Web-{CCC34A6A-75E0-42E3-9631-B2523B7B5B9A}" dt="2021-05-16T15:04:27.141" v="67" actId="1076"/>
        <pc:sldMkLst>
          <pc:docMk/>
          <pc:sldMk cId="777911404" sldId="258"/>
        </pc:sldMkLst>
        <pc:spChg chg="del">
          <ac:chgData name="Nickel Wallace" userId="S::cennick_gmail.com#ext#@devupconforg2.onmicrosoft.com::dcc24132-f25e-463d-8dd1-eef67da0d8fb" providerId="AD" clId="Web-{CCC34A6A-75E0-42E3-9631-B2523B7B5B9A}" dt="2021-05-16T15:02:50.183" v="57"/>
          <ac:spMkLst>
            <pc:docMk/>
            <pc:sldMk cId="777911404" sldId="258"/>
            <ac:spMk id="4" creationId="{2B4E5AFE-1218-425D-9754-AAC30A4787BB}"/>
          </ac:spMkLst>
        </pc:spChg>
        <pc:spChg chg="del">
          <ac:chgData name="Nickel Wallace" userId="S::cennick_gmail.com#ext#@devupconforg2.onmicrosoft.com::dcc24132-f25e-463d-8dd1-eef67da0d8fb" providerId="AD" clId="Web-{CCC34A6A-75E0-42E3-9631-B2523B7B5B9A}" dt="2021-05-16T15:04:03.543" v="62"/>
          <ac:spMkLst>
            <pc:docMk/>
            <pc:sldMk cId="777911404" sldId="258"/>
            <ac:spMk id="5" creationId="{93F8E94A-8624-4FE2-8BFE-C9E5F7AD7E8C}"/>
          </ac:spMkLst>
        </pc:spChg>
        <pc:spChg chg="add">
          <ac:chgData name="Nickel Wallace" userId="S::cennick_gmail.com#ext#@devupconforg2.onmicrosoft.com::dcc24132-f25e-463d-8dd1-eef67da0d8fb" providerId="AD" clId="Web-{CCC34A6A-75E0-42E3-9631-B2523B7B5B9A}" dt="2021-05-16T15:00:52.707" v="34"/>
          <ac:spMkLst>
            <pc:docMk/>
            <pc:sldMk cId="777911404" sldId="258"/>
            <ac:spMk id="6" creationId="{A8DE04E0-DA8F-4508-AB53-FB5BF7C6A1F4}"/>
          </ac:spMkLst>
        </pc:spChg>
        <pc:spChg chg="add del mod">
          <ac:chgData name="Nickel Wallace" userId="S::cennick_gmail.com#ext#@devupconforg2.onmicrosoft.com::dcc24132-f25e-463d-8dd1-eef67da0d8fb" providerId="AD" clId="Web-{CCC34A6A-75E0-42E3-9631-B2523B7B5B9A}" dt="2021-05-16T15:01:56.760" v="47"/>
          <ac:spMkLst>
            <pc:docMk/>
            <pc:sldMk cId="777911404" sldId="258"/>
            <ac:spMk id="7" creationId="{70D4FA60-AB51-4CD9-88F8-A3E7EB996749}"/>
          </ac:spMkLst>
        </pc:spChg>
        <pc:spChg chg="add del mod">
          <ac:chgData name="Nickel Wallace" userId="S::cennick_gmail.com#ext#@devupconforg2.onmicrosoft.com::dcc24132-f25e-463d-8dd1-eef67da0d8fb" providerId="AD" clId="Web-{CCC34A6A-75E0-42E3-9631-B2523B7B5B9A}" dt="2021-05-16T15:02:33.057" v="56"/>
          <ac:spMkLst>
            <pc:docMk/>
            <pc:sldMk cId="777911404" sldId="258"/>
            <ac:spMk id="8" creationId="{8D3DBC61-3B2F-490F-9037-0C6B04095E01}"/>
          </ac:spMkLst>
        </pc:spChg>
        <pc:spChg chg="add del mod">
          <ac:chgData name="Nickel Wallace" userId="S::cennick_gmail.com#ext#@devupconforg2.onmicrosoft.com::dcc24132-f25e-463d-8dd1-eef67da0d8fb" providerId="AD" clId="Web-{CCC34A6A-75E0-42E3-9631-B2523B7B5B9A}" dt="2021-05-16T15:03:45.652" v="61"/>
          <ac:spMkLst>
            <pc:docMk/>
            <pc:sldMk cId="777911404" sldId="258"/>
            <ac:spMk id="9" creationId="{7EE473D9-3E49-48E1-8768-38EC4BB97821}"/>
          </ac:spMkLst>
        </pc:spChg>
        <pc:spChg chg="add mod">
          <ac:chgData name="Nickel Wallace" userId="S::cennick_gmail.com#ext#@devupconforg2.onmicrosoft.com::dcc24132-f25e-463d-8dd1-eef67da0d8fb" providerId="AD" clId="Web-{CCC34A6A-75E0-42E3-9631-B2523B7B5B9A}" dt="2021-05-16T15:04:27.141" v="67" actId="1076"/>
          <ac:spMkLst>
            <pc:docMk/>
            <pc:sldMk cId="777911404" sldId="258"/>
            <ac:spMk id="10" creationId="{97DAF8BB-D6EF-48B7-8EE8-87D89ECC20A7}"/>
          </ac:spMkLst>
        </pc:spChg>
      </pc:sldChg>
      <pc:sldChg chg="addSp delSp modSp">
        <pc:chgData name="Nickel Wallace" userId="S::cennick_gmail.com#ext#@devupconforg2.onmicrosoft.com::dcc24132-f25e-463d-8dd1-eef67da0d8fb" providerId="AD" clId="Web-{CCC34A6A-75E0-42E3-9631-B2523B7B5B9A}" dt="2021-05-16T15:03:40.215" v="59"/>
        <pc:sldMkLst>
          <pc:docMk/>
          <pc:sldMk cId="3673381248" sldId="263"/>
        </pc:sldMkLst>
        <pc:spChg chg="add">
          <ac:chgData name="Nickel Wallace" userId="S::cennick_gmail.com#ext#@devupconforg2.onmicrosoft.com::dcc24132-f25e-463d-8dd1-eef67da0d8fb" providerId="AD" clId="Web-{CCC34A6A-75E0-42E3-9631-B2523B7B5B9A}" dt="2021-05-16T15:01:13.118" v="40"/>
          <ac:spMkLst>
            <pc:docMk/>
            <pc:sldMk cId="3673381248" sldId="263"/>
            <ac:spMk id="3" creationId="{CDCF1326-8E96-4BA1-A8DB-04822131F747}"/>
          </ac:spMkLst>
        </pc:spChg>
        <pc:spChg chg="add del mod">
          <ac:chgData name="Nickel Wallace" userId="S::cennick_gmail.com#ext#@devupconforg2.onmicrosoft.com::dcc24132-f25e-463d-8dd1-eef67da0d8fb" providerId="AD" clId="Web-{CCC34A6A-75E0-42E3-9631-B2523B7B5B9A}" dt="2021-05-16T15:03:40.215" v="59"/>
          <ac:spMkLst>
            <pc:docMk/>
            <pc:sldMk cId="3673381248" sldId="263"/>
            <ac:spMk id="5" creationId="{09760080-8A85-4165-813E-B87300A77F36}"/>
          </ac:spMkLst>
        </pc:spChg>
      </pc:sldChg>
      <pc:sldChg chg="addSp">
        <pc:chgData name="Nickel Wallace" userId="S::cennick_gmail.com#ext#@devupconforg2.onmicrosoft.com::dcc24132-f25e-463d-8dd1-eef67da0d8fb" providerId="AD" clId="Web-{CCC34A6A-75E0-42E3-9631-B2523B7B5B9A}" dt="2021-05-16T15:00:55.446" v="35"/>
        <pc:sldMkLst>
          <pc:docMk/>
          <pc:sldMk cId="2528061646" sldId="2123258763"/>
        </pc:sldMkLst>
        <pc:spChg chg="add">
          <ac:chgData name="Nickel Wallace" userId="S::cennick_gmail.com#ext#@devupconforg2.onmicrosoft.com::dcc24132-f25e-463d-8dd1-eef67da0d8fb" providerId="AD" clId="Web-{CCC34A6A-75E0-42E3-9631-B2523B7B5B9A}" dt="2021-05-16T15:00:55.446" v="35"/>
          <ac:spMkLst>
            <pc:docMk/>
            <pc:sldMk cId="2528061646" sldId="2123258763"/>
            <ac:spMk id="9" creationId="{37B5F270-13F7-44C7-B77E-34F90E62C125}"/>
          </ac:spMkLst>
        </pc:spChg>
      </pc:sldChg>
      <pc:sldChg chg="addSp">
        <pc:chgData name="Nickel Wallace" userId="S::cennick_gmail.com#ext#@devupconforg2.onmicrosoft.com::dcc24132-f25e-463d-8dd1-eef67da0d8fb" providerId="AD" clId="Web-{CCC34A6A-75E0-42E3-9631-B2523B7B5B9A}" dt="2021-05-16T15:01:00.118" v="36"/>
        <pc:sldMkLst>
          <pc:docMk/>
          <pc:sldMk cId="3372623878" sldId="2146846460"/>
        </pc:sldMkLst>
        <pc:spChg chg="add">
          <ac:chgData name="Nickel Wallace" userId="S::cennick_gmail.com#ext#@devupconforg2.onmicrosoft.com::dcc24132-f25e-463d-8dd1-eef67da0d8fb" providerId="AD" clId="Web-{CCC34A6A-75E0-42E3-9631-B2523B7B5B9A}" dt="2021-05-16T15:01:00.118" v="36"/>
          <ac:spMkLst>
            <pc:docMk/>
            <pc:sldMk cId="3372623878" sldId="2146846460"/>
            <ac:spMk id="2" creationId="{96EBBAF4-33BD-4B81-BF59-29B7028BAC21}"/>
          </ac:spMkLst>
        </pc:spChg>
      </pc:sldChg>
      <pc:sldChg chg="addSp">
        <pc:chgData name="Nickel Wallace" userId="S::cennick_gmail.com#ext#@devupconforg2.onmicrosoft.com::dcc24132-f25e-463d-8dd1-eef67da0d8fb" providerId="AD" clId="Web-{CCC34A6A-75E0-42E3-9631-B2523B7B5B9A}" dt="2021-05-16T15:01:02.384" v="37"/>
        <pc:sldMkLst>
          <pc:docMk/>
          <pc:sldMk cId="4247509971" sldId="2146846461"/>
        </pc:sldMkLst>
        <pc:spChg chg="add">
          <ac:chgData name="Nickel Wallace" userId="S::cennick_gmail.com#ext#@devupconforg2.onmicrosoft.com::dcc24132-f25e-463d-8dd1-eef67da0d8fb" providerId="AD" clId="Web-{CCC34A6A-75E0-42E3-9631-B2523B7B5B9A}" dt="2021-05-16T15:01:02.384" v="37"/>
          <ac:spMkLst>
            <pc:docMk/>
            <pc:sldMk cId="4247509971" sldId="2146846461"/>
            <ac:spMk id="2" creationId="{BB2819A1-09E7-4B24-A74D-2763CA591EA6}"/>
          </ac:spMkLst>
        </pc:spChg>
      </pc:sldChg>
      <pc:sldChg chg="addSp">
        <pc:chgData name="Nickel Wallace" userId="S::cennick_gmail.com#ext#@devupconforg2.onmicrosoft.com::dcc24132-f25e-463d-8dd1-eef67da0d8fb" providerId="AD" clId="Web-{CCC34A6A-75E0-42E3-9631-B2523B7B5B9A}" dt="2021-05-16T15:01:08.227" v="39"/>
        <pc:sldMkLst>
          <pc:docMk/>
          <pc:sldMk cId="3675549929" sldId="2146846463"/>
        </pc:sldMkLst>
        <pc:spChg chg="add">
          <ac:chgData name="Nickel Wallace" userId="S::cennick_gmail.com#ext#@devupconforg2.onmicrosoft.com::dcc24132-f25e-463d-8dd1-eef67da0d8fb" providerId="AD" clId="Web-{CCC34A6A-75E0-42E3-9631-B2523B7B5B9A}" dt="2021-05-16T15:01:08.227" v="39"/>
          <ac:spMkLst>
            <pc:docMk/>
            <pc:sldMk cId="3675549929" sldId="2146846463"/>
            <ac:spMk id="5" creationId="{987D78DD-0461-4067-94AE-48463FF8F5A9}"/>
          </ac:spMkLst>
        </pc:spChg>
      </pc:sldChg>
      <pc:sldChg chg="addSp delSp modSp">
        <pc:chgData name="Nickel Wallace" userId="S::cennick_gmail.com#ext#@devupconforg2.onmicrosoft.com::dcc24132-f25e-463d-8dd1-eef67da0d8fb" providerId="AD" clId="Web-{CCC34A6A-75E0-42E3-9631-B2523B7B5B9A}" dt="2021-05-16T15:03:40.215" v="59"/>
        <pc:sldMkLst>
          <pc:docMk/>
          <pc:sldMk cId="2472792447" sldId="2146846465"/>
        </pc:sldMkLst>
        <pc:spChg chg="add">
          <ac:chgData name="Nickel Wallace" userId="S::cennick_gmail.com#ext#@devupconforg2.onmicrosoft.com::dcc24132-f25e-463d-8dd1-eef67da0d8fb" providerId="AD" clId="Web-{CCC34A6A-75E0-42E3-9631-B2523B7B5B9A}" dt="2021-05-16T15:01:05.962" v="38"/>
          <ac:spMkLst>
            <pc:docMk/>
            <pc:sldMk cId="2472792447" sldId="2146846465"/>
            <ac:spMk id="7" creationId="{6FEDD273-E242-4F5B-A176-90B2BD769F16}"/>
          </ac:spMkLst>
        </pc:spChg>
        <pc:spChg chg="add del mod">
          <ac:chgData name="Nickel Wallace" userId="S::cennick_gmail.com#ext#@devupconforg2.onmicrosoft.com::dcc24132-f25e-463d-8dd1-eef67da0d8fb" providerId="AD" clId="Web-{CCC34A6A-75E0-42E3-9631-B2523B7B5B9A}" dt="2021-05-16T15:03:40.215" v="59"/>
          <ac:spMkLst>
            <pc:docMk/>
            <pc:sldMk cId="2472792447" sldId="2146846465"/>
            <ac:spMk id="14" creationId="{5223517B-584B-4FEF-AEF9-7EB9AFAF25A0}"/>
          </ac:spMkLst>
        </pc:spChg>
      </pc:sldChg>
      <pc:sldChg chg="addSp delSp modSp">
        <pc:chgData name="Nickel Wallace" userId="S::cennick_gmail.com#ext#@devupconforg2.onmicrosoft.com::dcc24132-f25e-463d-8dd1-eef67da0d8fb" providerId="AD" clId="Web-{CCC34A6A-75E0-42E3-9631-B2523B7B5B9A}" dt="2021-05-16T15:04:05.215" v="63"/>
        <pc:sldMkLst>
          <pc:docMk/>
          <pc:sldMk cId="1853223607" sldId="2146846466"/>
        </pc:sldMkLst>
        <pc:spChg chg="del">
          <ac:chgData name="Nickel Wallace" userId="S::cennick_gmail.com#ext#@devupconforg2.onmicrosoft.com::dcc24132-f25e-463d-8dd1-eef67da0d8fb" providerId="AD" clId="Web-{CCC34A6A-75E0-42E3-9631-B2523B7B5B9A}" dt="2021-05-16T15:04:05.215" v="63"/>
          <ac:spMkLst>
            <pc:docMk/>
            <pc:sldMk cId="1853223607" sldId="2146846466"/>
            <ac:spMk id="2" creationId="{7901C9F4-2A2F-4BD8-8184-5661CEF7B467}"/>
          </ac:spMkLst>
        </pc:spChg>
        <pc:spChg chg="add">
          <ac:chgData name="Nickel Wallace" userId="S::cennick_gmail.com#ext#@devupconforg2.onmicrosoft.com::dcc24132-f25e-463d-8dd1-eef67da0d8fb" providerId="AD" clId="Web-{CCC34A6A-75E0-42E3-9631-B2523B7B5B9A}" dt="2021-05-16T15:01:15.337" v="41"/>
          <ac:spMkLst>
            <pc:docMk/>
            <pc:sldMk cId="1853223607" sldId="2146846466"/>
            <ac:spMk id="3" creationId="{2186BE57-82D5-4A1A-87D3-184A457C4B49}"/>
          </ac:spMkLst>
        </pc:spChg>
        <pc:spChg chg="add del mod">
          <ac:chgData name="Nickel Wallace" userId="S::cennick_gmail.com#ext#@devupconforg2.onmicrosoft.com::dcc24132-f25e-463d-8dd1-eef67da0d8fb" providerId="AD" clId="Web-{CCC34A6A-75E0-42E3-9631-B2523B7B5B9A}" dt="2021-05-16T15:03:40.215" v="59"/>
          <ac:spMkLst>
            <pc:docMk/>
            <pc:sldMk cId="1853223607" sldId="2146846466"/>
            <ac:spMk id="7" creationId="{0CD88693-172A-4510-B831-74B82841AC2B}"/>
          </ac:spMkLst>
        </pc:spChg>
      </pc:sldChg>
      <pc:sldMasterChg chg="mod modSldLayout">
        <pc:chgData name="Nickel Wallace" userId="S::cennick_gmail.com#ext#@devupconforg2.onmicrosoft.com::dcc24132-f25e-463d-8dd1-eef67da0d8fb" providerId="AD" clId="Web-{CCC34A6A-75E0-42E3-9631-B2523B7B5B9A}" dt="2021-05-16T15:04:05.543" v="64"/>
        <pc:sldMasterMkLst>
          <pc:docMk/>
          <pc:sldMasterMk cId="1404371594" sldId="2147483660"/>
        </pc:sldMasterMkLst>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3182366593" sldId="2147483661"/>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040108791" sldId="2147483662"/>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539049088" sldId="2147483663"/>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3737417097" sldId="2147483664"/>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240886703" sldId="2147483666"/>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940440292" sldId="2147483671"/>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273579872" sldId="2147483672"/>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961054333" sldId="2147483673"/>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654364422" sldId="2147483674"/>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3441147330" sldId="2147483675"/>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3573084083" sldId="2147483676"/>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008190391" sldId="2147483677"/>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052958584" sldId="2147483678"/>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184531387" sldId="2147483679"/>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972301604" sldId="2147483680"/>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530377990" sldId="2147483681"/>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825120280" sldId="2147483682"/>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821005490" sldId="2147483683"/>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821822913" sldId="2147483684"/>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420837946" sldId="2147483685"/>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248571253" sldId="2147483686"/>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855326201" sldId="2147483687"/>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344187714" sldId="2147483688"/>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141098958" sldId="2147483689"/>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058084511" sldId="2147483690"/>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853349449" sldId="2147483691"/>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031111441" sldId="2147483692"/>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4108152321" sldId="2147483693"/>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4241495262" sldId="2147483694"/>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073306364" sldId="2147483695"/>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2795249730" sldId="2147483704"/>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492818010" sldId="2147483705"/>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427349406" sldId="2147483706"/>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283094162" sldId="2147483707"/>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596068128" sldId="2147483708"/>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4063382471" sldId="2147483709"/>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372349861" sldId="2147483710"/>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895156804" sldId="2147483711"/>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77429042" sldId="2147483712"/>
          </pc:sldLayoutMkLst>
        </pc:sldLayoutChg>
        <pc:sldLayoutChg chg="mod">
          <pc:chgData name="Nickel Wallace" userId="S::cennick_gmail.com#ext#@devupconforg2.onmicrosoft.com::dcc24132-f25e-463d-8dd1-eef67da0d8fb" providerId="AD" clId="Web-{CCC34A6A-75E0-42E3-9631-B2523B7B5B9A}" dt="2021-05-16T15:04:05.543" v="64"/>
          <pc:sldLayoutMkLst>
            <pc:docMk/>
            <pc:sldMasterMk cId="1404371594" sldId="2147483660"/>
            <pc:sldLayoutMk cId="1658023910" sldId="2147483713"/>
          </pc:sldLayoutMkLst>
        </pc:sldLayoutChg>
      </pc:sldMasterChg>
    </pc:docChg>
  </pc:docChgLst>
  <pc:docChgLst>
    <pc:chgData name="Lisa Stapleton" userId="S::lisastap_microsoft.com#ext#@devupconforg2.onmicrosoft.com::c2f699ab-f2b1-4f9c-a39c-73ec5f56bfb8" providerId="AD" clId="Web-{C02E49CA-EA8E-4D30-BA71-318C5EC4296A}"/>
    <pc:docChg chg="modSld">
      <pc:chgData name="Lisa Stapleton" userId="S::lisastap_microsoft.com#ext#@devupconforg2.onmicrosoft.com::c2f699ab-f2b1-4f9c-a39c-73ec5f56bfb8" providerId="AD" clId="Web-{C02E49CA-EA8E-4D30-BA71-318C5EC4296A}" dt="2021-05-16T15:47:24.507" v="9" actId="20577"/>
      <pc:docMkLst>
        <pc:docMk/>
      </pc:docMkLst>
      <pc:sldChg chg="modSp">
        <pc:chgData name="Lisa Stapleton" userId="S::lisastap_microsoft.com#ext#@devupconforg2.onmicrosoft.com::c2f699ab-f2b1-4f9c-a39c-73ec5f56bfb8" providerId="AD" clId="Web-{C02E49CA-EA8E-4D30-BA71-318C5EC4296A}" dt="2021-05-16T15:47:24.507" v="9" actId="20577"/>
        <pc:sldMkLst>
          <pc:docMk/>
          <pc:sldMk cId="4247509971" sldId="2146846461"/>
        </pc:sldMkLst>
        <pc:spChg chg="mod">
          <ac:chgData name="Lisa Stapleton" userId="S::lisastap_microsoft.com#ext#@devupconforg2.onmicrosoft.com::c2f699ab-f2b1-4f9c-a39c-73ec5f56bfb8" providerId="AD" clId="Web-{C02E49CA-EA8E-4D30-BA71-318C5EC4296A}" dt="2021-05-16T15:47:24.507" v="9" actId="20577"/>
          <ac:spMkLst>
            <pc:docMk/>
            <pc:sldMk cId="4247509971" sldId="2146846461"/>
            <ac:spMk id="4" creationId="{15298B89-F48B-4006-B7B3-D263E8B6D3D0}"/>
          </ac:spMkLst>
        </pc:spChg>
      </pc:sldChg>
    </pc:docChg>
  </pc:docChgLst>
  <pc:docChgLst>
    <pc:chgData name="Tony Ellis" userId="S::anellis_microsoft.com#ext#@devupconforg2.onmicrosoft.com::68634dea-e78b-4c11-8861-ff60eb196383" providerId="AD" clId="Web-{D87B824C-53C5-4FDB-9E13-9CE18EA264D2}"/>
    <pc:docChg chg="modSld">
      <pc:chgData name="Tony Ellis" userId="S::anellis_microsoft.com#ext#@devupconforg2.onmicrosoft.com::68634dea-e78b-4c11-8861-ff60eb196383" providerId="AD" clId="Web-{D87B824C-53C5-4FDB-9E13-9CE18EA264D2}" dt="2021-05-16T14:35:40.780" v="5" actId="14100"/>
      <pc:docMkLst>
        <pc:docMk/>
      </pc:docMkLst>
      <pc:sldChg chg="addSp modSp">
        <pc:chgData name="Tony Ellis" userId="S::anellis_microsoft.com#ext#@devupconforg2.onmicrosoft.com::68634dea-e78b-4c11-8861-ff60eb196383" providerId="AD" clId="Web-{D87B824C-53C5-4FDB-9E13-9CE18EA264D2}" dt="2021-05-16T14:35:40.780" v="5" actId="14100"/>
        <pc:sldMkLst>
          <pc:docMk/>
          <pc:sldMk cId="2472792447" sldId="2146846465"/>
        </pc:sldMkLst>
        <pc:picChg chg="add mod">
          <ac:chgData name="Tony Ellis" userId="S::anellis_microsoft.com#ext#@devupconforg2.onmicrosoft.com::68634dea-e78b-4c11-8861-ff60eb196383" providerId="AD" clId="Web-{D87B824C-53C5-4FDB-9E13-9CE18EA264D2}" dt="2021-05-16T14:35:40.780" v="5" actId="14100"/>
          <ac:picMkLst>
            <pc:docMk/>
            <pc:sldMk cId="2472792447" sldId="2146846465"/>
            <ac:picMk id="4" creationId="{899A1468-082D-4606-8B3E-C935654B21F0}"/>
          </ac:picMkLst>
        </pc:picChg>
      </pc:sldChg>
    </pc:docChg>
  </pc:docChgLst>
  <pc:docChgLst>
    <pc:chgData name="Tony Ellis" userId="S::anellis_microsoft.com#ext#@devupconforg2.onmicrosoft.com::68634dea-e78b-4c11-8861-ff60eb196383" providerId="AD" clId="Web-{90B73C78-2749-47A0-AC80-7DAAA025B7FB}"/>
    <pc:docChg chg="modSld">
      <pc:chgData name="Tony Ellis" userId="S::anellis_microsoft.com#ext#@devupconforg2.onmicrosoft.com::68634dea-e78b-4c11-8861-ff60eb196383" providerId="AD" clId="Web-{90B73C78-2749-47A0-AC80-7DAAA025B7FB}" dt="2021-05-16T15:00:39.135" v="97" actId="20577"/>
      <pc:docMkLst>
        <pc:docMk/>
      </pc:docMkLst>
      <pc:sldChg chg="modSp">
        <pc:chgData name="Tony Ellis" userId="S::anellis_microsoft.com#ext#@devupconforg2.onmicrosoft.com::68634dea-e78b-4c11-8861-ff60eb196383" providerId="AD" clId="Web-{90B73C78-2749-47A0-AC80-7DAAA025B7FB}" dt="2021-05-16T15:00:39.135" v="97" actId="20577"/>
        <pc:sldMkLst>
          <pc:docMk/>
          <pc:sldMk cId="2472792447" sldId="2146846465"/>
        </pc:sldMkLst>
        <pc:spChg chg="mod">
          <ac:chgData name="Tony Ellis" userId="S::anellis_microsoft.com#ext#@devupconforg2.onmicrosoft.com::68634dea-e78b-4c11-8861-ff60eb196383" providerId="AD" clId="Web-{90B73C78-2749-47A0-AC80-7DAAA025B7FB}" dt="2021-05-16T15:00:39.135" v="97" actId="20577"/>
          <ac:spMkLst>
            <pc:docMk/>
            <pc:sldMk cId="2472792447" sldId="2146846465"/>
            <ac:spMk id="2" creationId="{E7D60136-D59A-4D31-8EBF-ECE1E0A4765F}"/>
          </ac:spMkLst>
        </pc:spChg>
        <pc:spChg chg="mod">
          <ac:chgData name="Tony Ellis" userId="S::anellis_microsoft.com#ext#@devupconforg2.onmicrosoft.com::68634dea-e78b-4c11-8861-ff60eb196383" providerId="AD" clId="Web-{90B73C78-2749-47A0-AC80-7DAAA025B7FB}" dt="2021-05-16T14:55:49.269" v="62" actId="20577"/>
          <ac:spMkLst>
            <pc:docMk/>
            <pc:sldMk cId="2472792447" sldId="2146846465"/>
            <ac:spMk id="3" creationId="{42D8B224-EE04-45FD-B056-79328434281C}"/>
          </ac:spMkLst>
        </pc:spChg>
        <pc:picChg chg="mod">
          <ac:chgData name="Tony Ellis" userId="S::anellis_microsoft.com#ext#@devupconforg2.onmicrosoft.com::68634dea-e78b-4c11-8861-ff60eb196383" providerId="AD" clId="Web-{90B73C78-2749-47A0-AC80-7DAAA025B7FB}" dt="2021-05-16T14:53:52.329" v="44" actId="14100"/>
          <ac:picMkLst>
            <pc:docMk/>
            <pc:sldMk cId="2472792447" sldId="2146846465"/>
            <ac:picMk id="4" creationId="{899A1468-082D-4606-8B3E-C935654B21F0}"/>
          </ac:picMkLst>
        </pc:picChg>
        <pc:picChg chg="mod">
          <ac:chgData name="Tony Ellis" userId="S::anellis_microsoft.com#ext#@devupconforg2.onmicrosoft.com::68634dea-e78b-4c11-8861-ff60eb196383" providerId="AD" clId="Web-{90B73C78-2749-47A0-AC80-7DAAA025B7FB}" dt="2021-05-16T14:54:34.799" v="49" actId="14100"/>
          <ac:picMkLst>
            <pc:docMk/>
            <pc:sldMk cId="2472792447" sldId="2146846465"/>
            <ac:picMk id="6" creationId="{823D74FF-3709-4DA1-9CAD-91D1574A82A2}"/>
          </ac:picMkLst>
        </pc:picChg>
        <pc:picChg chg="mod">
          <ac:chgData name="Tony Ellis" userId="S::anellis_microsoft.com#ext#@devupconforg2.onmicrosoft.com::68634dea-e78b-4c11-8861-ff60eb196383" providerId="AD" clId="Web-{90B73C78-2749-47A0-AC80-7DAAA025B7FB}" dt="2021-05-16T14:53:58.907" v="45" actId="14100"/>
          <ac:picMkLst>
            <pc:docMk/>
            <pc:sldMk cId="2472792447" sldId="2146846465"/>
            <ac:picMk id="8" creationId="{7823AB5A-0E6F-4F38-A6D4-6B5DBB09E388}"/>
          </ac:picMkLst>
        </pc:picChg>
        <pc:picChg chg="mod">
          <ac:chgData name="Tony Ellis" userId="S::anellis_microsoft.com#ext#@devupconforg2.onmicrosoft.com::68634dea-e78b-4c11-8861-ff60eb196383" providerId="AD" clId="Web-{90B73C78-2749-47A0-AC80-7DAAA025B7FB}" dt="2021-05-16T14:53:40.438" v="41" actId="14100"/>
          <ac:picMkLst>
            <pc:docMk/>
            <pc:sldMk cId="2472792447" sldId="2146846465"/>
            <ac:picMk id="9" creationId="{DBF1E4C6-ADE9-4368-A8EE-647A1D80F6CB}"/>
          </ac:picMkLst>
        </pc:picChg>
        <pc:picChg chg="mod">
          <ac:chgData name="Tony Ellis" userId="S::anellis_microsoft.com#ext#@devupconforg2.onmicrosoft.com::68634dea-e78b-4c11-8861-ff60eb196383" providerId="AD" clId="Web-{90B73C78-2749-47A0-AC80-7DAAA025B7FB}" dt="2021-05-16T14:52:53.390" v="32" actId="14100"/>
          <ac:picMkLst>
            <pc:docMk/>
            <pc:sldMk cId="2472792447" sldId="2146846465"/>
            <ac:picMk id="10" creationId="{32DAEA08-6581-44C9-8261-9B2D7EF88AD4}"/>
          </ac:picMkLst>
        </pc:picChg>
        <pc:picChg chg="mod">
          <ac:chgData name="Tony Ellis" userId="S::anellis_microsoft.com#ext#@devupconforg2.onmicrosoft.com::68634dea-e78b-4c11-8861-ff60eb196383" providerId="AD" clId="Web-{90B73C78-2749-47A0-AC80-7DAAA025B7FB}" dt="2021-05-16T14:54:16.642" v="47" actId="14100"/>
          <ac:picMkLst>
            <pc:docMk/>
            <pc:sldMk cId="2472792447" sldId="2146846465"/>
            <ac:picMk id="11" creationId="{EB6CC693-8ED9-49A9-B0B7-1F37EC1D9567}"/>
          </ac:picMkLst>
        </pc:picChg>
        <pc:picChg chg="mod">
          <ac:chgData name="Tony Ellis" userId="S::anellis_microsoft.com#ext#@devupconforg2.onmicrosoft.com::68634dea-e78b-4c11-8861-ff60eb196383" providerId="AD" clId="Web-{90B73C78-2749-47A0-AC80-7DAAA025B7FB}" dt="2021-05-16T14:54:43.002" v="51" actId="14100"/>
          <ac:picMkLst>
            <pc:docMk/>
            <pc:sldMk cId="2472792447" sldId="2146846465"/>
            <ac:picMk id="12" creationId="{A1955A67-B76A-4054-AC00-831606D9A51F}"/>
          </ac:picMkLst>
        </pc:picChg>
      </pc:sldChg>
    </pc:docChg>
  </pc:docChgLst>
  <pc:docChgLst>
    <pc:chgData name="Tony Ellis" userId="S::anellis_microsoft.com#ext#@devupconforg2.onmicrosoft.com::68634dea-e78b-4c11-8861-ff60eb196383" providerId="AD" clId="Web-{76BC247F-A8D8-4428-A9BB-2E84EAEDF203}"/>
    <pc:docChg chg="modSld">
      <pc:chgData name="Tony Ellis" userId="S::anellis_microsoft.com#ext#@devupconforg2.onmicrosoft.com::68634dea-e78b-4c11-8861-ff60eb196383" providerId="AD" clId="Web-{76BC247F-A8D8-4428-A9BB-2E84EAEDF203}" dt="2021-05-16T14:46:31.958" v="34" actId="20577"/>
      <pc:docMkLst>
        <pc:docMk/>
      </pc:docMkLst>
      <pc:sldChg chg="addSp modSp">
        <pc:chgData name="Tony Ellis" userId="S::anellis_microsoft.com#ext#@devupconforg2.onmicrosoft.com::68634dea-e78b-4c11-8861-ff60eb196383" providerId="AD" clId="Web-{76BC247F-A8D8-4428-A9BB-2E84EAEDF203}" dt="2021-05-16T14:46:31.958" v="34" actId="20577"/>
        <pc:sldMkLst>
          <pc:docMk/>
          <pc:sldMk cId="2472792447" sldId="2146846465"/>
        </pc:sldMkLst>
        <pc:spChg chg="mod">
          <ac:chgData name="Tony Ellis" userId="S::anellis_microsoft.com#ext#@devupconforg2.onmicrosoft.com::68634dea-e78b-4c11-8861-ff60eb196383" providerId="AD" clId="Web-{76BC247F-A8D8-4428-A9BB-2E84EAEDF203}" dt="2021-05-16T14:46:31.958" v="34" actId="20577"/>
          <ac:spMkLst>
            <pc:docMk/>
            <pc:sldMk cId="2472792447" sldId="2146846465"/>
            <ac:spMk id="3" creationId="{42D8B224-EE04-45FD-B056-79328434281C}"/>
          </ac:spMkLst>
        </pc:spChg>
        <pc:picChg chg="mod">
          <ac:chgData name="Tony Ellis" userId="S::anellis_microsoft.com#ext#@devupconforg2.onmicrosoft.com::68634dea-e78b-4c11-8861-ff60eb196383" providerId="AD" clId="Web-{76BC247F-A8D8-4428-A9BB-2E84EAEDF203}" dt="2021-05-16T14:43:35.016" v="6" actId="1076"/>
          <ac:picMkLst>
            <pc:docMk/>
            <pc:sldMk cId="2472792447" sldId="2146846465"/>
            <ac:picMk id="4" creationId="{899A1468-082D-4606-8B3E-C935654B21F0}"/>
          </ac:picMkLst>
        </pc:picChg>
        <pc:picChg chg="add mod">
          <ac:chgData name="Tony Ellis" userId="S::anellis_microsoft.com#ext#@devupconforg2.onmicrosoft.com::68634dea-e78b-4c11-8861-ff60eb196383" providerId="AD" clId="Web-{76BC247F-A8D8-4428-A9BB-2E84EAEDF203}" dt="2021-05-16T14:43:51.141" v="13" actId="1076"/>
          <ac:picMkLst>
            <pc:docMk/>
            <pc:sldMk cId="2472792447" sldId="2146846465"/>
            <ac:picMk id="7" creationId="{F7E5B1AB-65C0-4201-B3DB-011F66E9BA25}"/>
          </ac:picMkLst>
        </pc:picChg>
        <pc:picChg chg="mod">
          <ac:chgData name="Tony Ellis" userId="S::anellis_microsoft.com#ext#@devupconforg2.onmicrosoft.com::68634dea-e78b-4c11-8861-ff60eb196383" providerId="AD" clId="Web-{76BC247F-A8D8-4428-A9BB-2E84EAEDF203}" dt="2021-05-16T14:43:31.187" v="5" actId="1076"/>
          <ac:picMkLst>
            <pc:docMk/>
            <pc:sldMk cId="2472792447" sldId="2146846465"/>
            <ac:picMk id="8" creationId="{7823AB5A-0E6F-4F38-A6D4-6B5DBB09E388}"/>
          </ac:picMkLst>
        </pc:picChg>
        <pc:picChg chg="mod">
          <ac:chgData name="Tony Ellis" userId="S::anellis_microsoft.com#ext#@devupconforg2.onmicrosoft.com::68634dea-e78b-4c11-8861-ff60eb196383" providerId="AD" clId="Web-{76BC247F-A8D8-4428-A9BB-2E84EAEDF203}" dt="2021-05-16T14:43:42.469" v="9" actId="1076"/>
          <ac:picMkLst>
            <pc:docMk/>
            <pc:sldMk cId="2472792447" sldId="2146846465"/>
            <ac:picMk id="9" creationId="{DBF1E4C6-ADE9-4368-A8EE-647A1D80F6CB}"/>
          </ac:picMkLst>
        </pc:picChg>
        <pc:picChg chg="mod">
          <ac:chgData name="Tony Ellis" userId="S::anellis_microsoft.com#ext#@devupconforg2.onmicrosoft.com::68634dea-e78b-4c11-8861-ff60eb196383" providerId="AD" clId="Web-{76BC247F-A8D8-4428-A9BB-2E84EAEDF203}" dt="2021-05-16T14:43:40.266" v="8" actId="1076"/>
          <ac:picMkLst>
            <pc:docMk/>
            <pc:sldMk cId="2472792447" sldId="2146846465"/>
            <ac:picMk id="10" creationId="{32DAEA08-6581-44C9-8261-9B2D7EF88AD4}"/>
          </ac:picMkLst>
        </pc:picChg>
        <pc:picChg chg="mod">
          <ac:chgData name="Tony Ellis" userId="S::anellis_microsoft.com#ext#@devupconforg2.onmicrosoft.com::68634dea-e78b-4c11-8861-ff60eb196383" providerId="AD" clId="Web-{76BC247F-A8D8-4428-A9BB-2E84EAEDF203}" dt="2021-05-16T14:43:37.750" v="7" actId="1076"/>
          <ac:picMkLst>
            <pc:docMk/>
            <pc:sldMk cId="2472792447" sldId="2146846465"/>
            <ac:picMk id="11" creationId="{EB6CC693-8ED9-49A9-B0B7-1F37EC1D9567}"/>
          </ac:picMkLst>
        </pc:picChg>
      </pc:sldChg>
    </pc:docChg>
  </pc:docChgLst>
  <pc:docChgLst>
    <pc:chgData name="Tony Ellis" userId="S::anellis_microsoft.com#ext#@devupconforg2.onmicrosoft.com::68634dea-e78b-4c11-8861-ff60eb196383" providerId="AD" clId="Web-{B6C6D37B-61E4-4B68-B473-F826467BD801}"/>
    <pc:docChg chg="modSld">
      <pc:chgData name="Tony Ellis" userId="S::anellis_microsoft.com#ext#@devupconforg2.onmicrosoft.com::68634dea-e78b-4c11-8861-ff60eb196383" providerId="AD" clId="Web-{B6C6D37B-61E4-4B68-B473-F826467BD801}" dt="2021-05-16T14:42:00.376" v="32"/>
      <pc:docMkLst>
        <pc:docMk/>
      </pc:docMkLst>
      <pc:sldChg chg="addSp delSp modSp">
        <pc:chgData name="Tony Ellis" userId="S::anellis_microsoft.com#ext#@devupconforg2.onmicrosoft.com::68634dea-e78b-4c11-8861-ff60eb196383" providerId="AD" clId="Web-{B6C6D37B-61E4-4B68-B473-F826467BD801}" dt="2021-05-16T14:42:00.376" v="32"/>
        <pc:sldMkLst>
          <pc:docMk/>
          <pc:sldMk cId="2472792447" sldId="2146846465"/>
        </pc:sldMkLst>
        <pc:picChg chg="add del mod">
          <ac:chgData name="Tony Ellis" userId="S::anellis_microsoft.com#ext#@devupconforg2.onmicrosoft.com::68634dea-e78b-4c11-8861-ff60eb196383" providerId="AD" clId="Web-{B6C6D37B-61E4-4B68-B473-F826467BD801}" dt="2021-05-16T14:42:00.376" v="32"/>
          <ac:picMkLst>
            <pc:docMk/>
            <pc:sldMk cId="2472792447" sldId="2146846465"/>
            <ac:picMk id="7" creationId="{DDAFDCA8-31B6-4873-A6A9-E94B8C596C63}"/>
          </ac:picMkLst>
        </pc:picChg>
        <pc:picChg chg="add mod">
          <ac:chgData name="Tony Ellis" userId="S::anellis_microsoft.com#ext#@devupconforg2.onmicrosoft.com::68634dea-e78b-4c11-8861-ff60eb196383" providerId="AD" clId="Web-{B6C6D37B-61E4-4B68-B473-F826467BD801}" dt="2021-05-16T14:41:46.844" v="31" actId="14100"/>
          <ac:picMkLst>
            <pc:docMk/>
            <pc:sldMk cId="2472792447" sldId="2146846465"/>
            <ac:picMk id="9" creationId="{DBF1E4C6-ADE9-4368-A8EE-647A1D80F6CB}"/>
          </ac:picMkLst>
        </pc:picChg>
        <pc:picChg chg="add mod">
          <ac:chgData name="Tony Ellis" userId="S::anellis_microsoft.com#ext#@devupconforg2.onmicrosoft.com::68634dea-e78b-4c11-8861-ff60eb196383" providerId="AD" clId="Web-{B6C6D37B-61E4-4B68-B473-F826467BD801}" dt="2021-05-16T14:41:17.719" v="18" actId="14100"/>
          <ac:picMkLst>
            <pc:docMk/>
            <pc:sldMk cId="2472792447" sldId="2146846465"/>
            <ac:picMk id="10" creationId="{32DAEA08-6581-44C9-8261-9B2D7EF88AD4}"/>
          </ac:picMkLst>
        </pc:picChg>
        <pc:picChg chg="add mod">
          <ac:chgData name="Tony Ellis" userId="S::anellis_microsoft.com#ext#@devupconforg2.onmicrosoft.com::68634dea-e78b-4c11-8861-ff60eb196383" providerId="AD" clId="Web-{B6C6D37B-61E4-4B68-B473-F826467BD801}" dt="2021-05-16T14:40:45.124" v="10" actId="1076"/>
          <ac:picMkLst>
            <pc:docMk/>
            <pc:sldMk cId="2472792447" sldId="2146846465"/>
            <ac:picMk id="11" creationId="{EB6CC693-8ED9-49A9-B0B7-1F37EC1D9567}"/>
          </ac:picMkLst>
        </pc:picChg>
      </pc:sldChg>
    </pc:docChg>
  </pc:docChgLst>
  <pc:docChgLst>
    <pc:chgData name="Tony Ellis" userId="S::anellis_microsoft.com#ext#@devupconforg2.onmicrosoft.com::68634dea-e78b-4c11-8861-ff60eb196383" providerId="AD" clId="Web-{73BF182F-6494-4B77-B1DC-DCCB27ACF144}"/>
    <pc:docChg chg="modSld">
      <pc:chgData name="Tony Ellis" userId="S::anellis_microsoft.com#ext#@devupconforg2.onmicrosoft.com::68634dea-e78b-4c11-8861-ff60eb196383" providerId="AD" clId="Web-{73BF182F-6494-4B77-B1DC-DCCB27ACF144}" dt="2021-05-16T14:33:23.048" v="27" actId="1076"/>
      <pc:docMkLst>
        <pc:docMk/>
      </pc:docMkLst>
      <pc:sldChg chg="addSp delSp modSp">
        <pc:chgData name="Tony Ellis" userId="S::anellis_microsoft.com#ext#@devupconforg2.onmicrosoft.com::68634dea-e78b-4c11-8861-ff60eb196383" providerId="AD" clId="Web-{73BF182F-6494-4B77-B1DC-DCCB27ACF144}" dt="2021-05-16T14:33:23.048" v="27" actId="1076"/>
        <pc:sldMkLst>
          <pc:docMk/>
          <pc:sldMk cId="2472792447" sldId="2146846465"/>
        </pc:sldMkLst>
        <pc:spChg chg="mod">
          <ac:chgData name="Tony Ellis" userId="S::anellis_microsoft.com#ext#@devupconforg2.onmicrosoft.com::68634dea-e78b-4c11-8861-ff60eb196383" providerId="AD" clId="Web-{73BF182F-6494-4B77-B1DC-DCCB27ACF144}" dt="2021-05-16T14:29:02.945" v="1" actId="20577"/>
          <ac:spMkLst>
            <pc:docMk/>
            <pc:sldMk cId="2472792447" sldId="2146846465"/>
            <ac:spMk id="3" creationId="{42D8B224-EE04-45FD-B056-79328434281C}"/>
          </ac:spMkLst>
        </pc:spChg>
        <pc:picChg chg="add del mod">
          <ac:chgData name="Tony Ellis" userId="S::anellis_microsoft.com#ext#@devupconforg2.onmicrosoft.com::68634dea-e78b-4c11-8861-ff60eb196383" providerId="AD" clId="Web-{73BF182F-6494-4B77-B1DC-DCCB27ACF144}" dt="2021-05-16T14:29:26.837" v="4"/>
          <ac:picMkLst>
            <pc:docMk/>
            <pc:sldMk cId="2472792447" sldId="2146846465"/>
            <ac:picMk id="4" creationId="{59BBF5BD-9EE5-435F-804E-0278B8CB88EE}"/>
          </ac:picMkLst>
        </pc:picChg>
        <pc:picChg chg="add mod modCrop">
          <ac:chgData name="Tony Ellis" userId="S::anellis_microsoft.com#ext#@devupconforg2.onmicrosoft.com::68634dea-e78b-4c11-8861-ff60eb196383" providerId="AD" clId="Web-{73BF182F-6494-4B77-B1DC-DCCB27ACF144}" dt="2021-05-16T14:32:13.453" v="15"/>
          <ac:picMkLst>
            <pc:docMk/>
            <pc:sldMk cId="2472792447" sldId="2146846465"/>
            <ac:picMk id="5" creationId="{4B3F15D8-E6A6-40FE-9BC2-37B2AC9B1C32}"/>
          </ac:picMkLst>
        </pc:picChg>
        <pc:picChg chg="add mod">
          <ac:chgData name="Tony Ellis" userId="S::anellis_microsoft.com#ext#@devupconforg2.onmicrosoft.com::68634dea-e78b-4c11-8861-ff60eb196383" providerId="AD" clId="Web-{73BF182F-6494-4B77-B1DC-DCCB27ACF144}" dt="2021-05-16T14:32:24.875" v="18" actId="14100"/>
          <ac:picMkLst>
            <pc:docMk/>
            <pc:sldMk cId="2472792447" sldId="2146846465"/>
            <ac:picMk id="6" creationId="{823D74FF-3709-4DA1-9CAD-91D1574A82A2}"/>
          </ac:picMkLst>
        </pc:picChg>
        <pc:picChg chg="add del mod">
          <ac:chgData name="Tony Ellis" userId="S::anellis_microsoft.com#ext#@devupconforg2.onmicrosoft.com::68634dea-e78b-4c11-8861-ff60eb196383" providerId="AD" clId="Web-{73BF182F-6494-4B77-B1DC-DCCB27ACF144}" dt="2021-05-16T14:32:53.766" v="20"/>
          <ac:picMkLst>
            <pc:docMk/>
            <pc:sldMk cId="2472792447" sldId="2146846465"/>
            <ac:picMk id="7" creationId="{CE4A7D03-A6D7-4AE6-BF1C-C27D2C07FF6F}"/>
          </ac:picMkLst>
        </pc:picChg>
        <pc:picChg chg="add mod">
          <ac:chgData name="Tony Ellis" userId="S::anellis_microsoft.com#ext#@devupconforg2.onmicrosoft.com::68634dea-e78b-4c11-8861-ff60eb196383" providerId="AD" clId="Web-{73BF182F-6494-4B77-B1DC-DCCB27ACF144}" dt="2021-05-16T14:33:23.048" v="27" actId="1076"/>
          <ac:picMkLst>
            <pc:docMk/>
            <pc:sldMk cId="2472792447" sldId="2146846465"/>
            <ac:picMk id="8" creationId="{7823AB5A-0E6F-4F38-A6D4-6B5DBB09E388}"/>
          </ac:picMkLst>
        </pc:picChg>
      </pc:sldChg>
    </pc:docChg>
  </pc:docChgLst>
  <pc:docChgLst>
    <pc:chgData name="Lisa Stapleton" userId="S::lisastap_microsoft.com#ext#@devupconforg2.onmicrosoft.com::c2f699ab-f2b1-4f9c-a39c-73ec5f56bfb8" providerId="AD" clId="Web-{1EFDB2F1-3EDE-4907-88DF-AAC2DFE92FD9}"/>
    <pc:docChg chg="modSld">
      <pc:chgData name="Lisa Stapleton" userId="S::lisastap_microsoft.com#ext#@devupconforg2.onmicrosoft.com::c2f699ab-f2b1-4f9c-a39c-73ec5f56bfb8" providerId="AD" clId="Web-{1EFDB2F1-3EDE-4907-88DF-AAC2DFE92FD9}" dt="2021-05-16T14:49:40.672" v="58" actId="20577"/>
      <pc:docMkLst>
        <pc:docMk/>
      </pc:docMkLst>
      <pc:sldChg chg="delSp modSp">
        <pc:chgData name="Lisa Stapleton" userId="S::lisastap_microsoft.com#ext#@devupconforg2.onmicrosoft.com::c2f699ab-f2b1-4f9c-a39c-73ec5f56bfb8" providerId="AD" clId="Web-{1EFDB2F1-3EDE-4907-88DF-AAC2DFE92FD9}" dt="2021-05-16T14:49:40.672" v="58" actId="20577"/>
        <pc:sldMkLst>
          <pc:docMk/>
          <pc:sldMk cId="4247509971" sldId="2146846461"/>
        </pc:sldMkLst>
        <pc:spChg chg="mod">
          <ac:chgData name="Lisa Stapleton" userId="S::lisastap_microsoft.com#ext#@devupconforg2.onmicrosoft.com::c2f699ab-f2b1-4f9c-a39c-73ec5f56bfb8" providerId="AD" clId="Web-{1EFDB2F1-3EDE-4907-88DF-AAC2DFE92FD9}" dt="2021-05-16T14:49:40.672" v="58" actId="20577"/>
          <ac:spMkLst>
            <pc:docMk/>
            <pc:sldMk cId="4247509971" sldId="2146846461"/>
            <ac:spMk id="4" creationId="{15298B89-F48B-4006-B7B3-D263E8B6D3D0}"/>
          </ac:spMkLst>
        </pc:spChg>
        <pc:spChg chg="del mod">
          <ac:chgData name="Lisa Stapleton" userId="S::lisastap_microsoft.com#ext#@devupconforg2.onmicrosoft.com::c2f699ab-f2b1-4f9c-a39c-73ec5f56bfb8" providerId="AD" clId="Web-{1EFDB2F1-3EDE-4907-88DF-AAC2DFE92FD9}" dt="2021-05-16T14:49:17.062" v="53"/>
          <ac:spMkLst>
            <pc:docMk/>
            <pc:sldMk cId="4247509971" sldId="2146846461"/>
            <ac:spMk id="7" creationId="{5E0E7B67-49B7-407B-9792-679A29D84D9C}"/>
          </ac:spMkLst>
        </pc:spChg>
      </pc:sldChg>
    </pc:docChg>
  </pc:docChgLst>
  <pc:docChgLst>
    <pc:chgData name="Tony Ellis" userId="S::anellis_microsoft.com#ext#@devupconforg2.onmicrosoft.com::68634dea-e78b-4c11-8861-ff60eb196383" providerId="AD" clId="Web-{8DB0B5B0-7A85-4B91-BFE5-9358ED111365}"/>
    <pc:docChg chg="modSld">
      <pc:chgData name="Tony Ellis" userId="S::anellis_microsoft.com#ext#@devupconforg2.onmicrosoft.com::68634dea-e78b-4c11-8861-ff60eb196383" providerId="AD" clId="Web-{8DB0B5B0-7A85-4B91-BFE5-9358ED111365}" dt="2021-05-16T14:48:59.131" v="10" actId="1076"/>
      <pc:docMkLst>
        <pc:docMk/>
      </pc:docMkLst>
      <pc:sldChg chg="addSp delSp modSp">
        <pc:chgData name="Tony Ellis" userId="S::anellis_microsoft.com#ext#@devupconforg2.onmicrosoft.com::68634dea-e78b-4c11-8861-ff60eb196383" providerId="AD" clId="Web-{8DB0B5B0-7A85-4B91-BFE5-9358ED111365}" dt="2021-05-16T14:48:59.131" v="10" actId="1076"/>
        <pc:sldMkLst>
          <pc:docMk/>
          <pc:sldMk cId="2472792447" sldId="2146846465"/>
        </pc:sldMkLst>
        <pc:picChg chg="del">
          <ac:chgData name="Tony Ellis" userId="S::anellis_microsoft.com#ext#@devupconforg2.onmicrosoft.com::68634dea-e78b-4c11-8861-ff60eb196383" providerId="AD" clId="Web-{8DB0B5B0-7A85-4B91-BFE5-9358ED111365}" dt="2021-05-16T14:48:30.724" v="1"/>
          <ac:picMkLst>
            <pc:docMk/>
            <pc:sldMk cId="2472792447" sldId="2146846465"/>
            <ac:picMk id="7" creationId="{F7E5B1AB-65C0-4201-B3DB-011F66E9BA25}"/>
          </ac:picMkLst>
        </pc:picChg>
        <pc:picChg chg="mod">
          <ac:chgData name="Tony Ellis" userId="S::anellis_microsoft.com#ext#@devupconforg2.onmicrosoft.com::68634dea-e78b-4c11-8861-ff60eb196383" providerId="AD" clId="Web-{8DB0B5B0-7A85-4B91-BFE5-9358ED111365}" dt="2021-05-16T14:48:55.084" v="9" actId="1076"/>
          <ac:picMkLst>
            <pc:docMk/>
            <pc:sldMk cId="2472792447" sldId="2146846465"/>
            <ac:picMk id="9" creationId="{DBF1E4C6-ADE9-4368-A8EE-647A1D80F6CB}"/>
          </ac:picMkLst>
        </pc:picChg>
        <pc:picChg chg="add mod">
          <ac:chgData name="Tony Ellis" userId="S::anellis_microsoft.com#ext#@devupconforg2.onmicrosoft.com::68634dea-e78b-4c11-8861-ff60eb196383" providerId="AD" clId="Web-{8DB0B5B0-7A85-4B91-BFE5-9358ED111365}" dt="2021-05-16T14:48:59.131" v="10" actId="1076"/>
          <ac:picMkLst>
            <pc:docMk/>
            <pc:sldMk cId="2472792447" sldId="2146846465"/>
            <ac:picMk id="12" creationId="{A1955A67-B76A-4054-AC00-831606D9A51F}"/>
          </ac:picMkLst>
        </pc:picChg>
      </pc:sldChg>
    </pc:docChg>
  </pc:docChgLst>
  <pc:docChgLst>
    <pc:chgData name="Shaina" userId="S::shaina.roe_gmail.com#ext#@devupconforg2.onmicrosoft.com::a49bbd9c-4e0f-4943-b721-f8fbcf944a89" providerId="AD" clId="Web-{6588C93C-5B41-4285-34D4-725CA4B064DF}"/>
    <pc:docChg chg="sldOrd">
      <pc:chgData name="Shaina" userId="S::shaina.roe_gmail.com#ext#@devupconforg2.onmicrosoft.com::a49bbd9c-4e0f-4943-b721-f8fbcf944a89" providerId="AD" clId="Web-{6588C93C-5B41-4285-34D4-725CA4B064DF}" dt="2021-05-16T15:09:12.618" v="0"/>
      <pc:docMkLst>
        <pc:docMk/>
      </pc:docMkLst>
      <pc:sldChg chg="ord">
        <pc:chgData name="Shaina" userId="S::shaina.roe_gmail.com#ext#@devupconforg2.onmicrosoft.com::a49bbd9c-4e0f-4943-b721-f8fbcf944a89" providerId="AD" clId="Web-{6588C93C-5B41-4285-34D4-725CA4B064DF}" dt="2021-05-16T15:09:12.618" v="0"/>
        <pc:sldMkLst>
          <pc:docMk/>
          <pc:sldMk cId="3675549929" sldId="2146846463"/>
        </pc:sldMkLst>
      </pc:sldChg>
    </pc:docChg>
  </pc:docChgLst>
  <pc:docChgLst>
    <pc:chgData name="Ted Kim" userId="bcf32251-ca76-45f3-ae38-b6a8cdea8c39" providerId="ADAL" clId="{3528C7AD-FF5B-414E-ABF6-ABC1253C0726}"/>
    <pc:docChg chg="modSld">
      <pc:chgData name="Ted Kim" userId="bcf32251-ca76-45f3-ae38-b6a8cdea8c39" providerId="ADAL" clId="{3528C7AD-FF5B-414E-ABF6-ABC1253C0726}" dt="2021-05-16T14:26:58.381" v="19" actId="20577"/>
      <pc:docMkLst>
        <pc:docMk/>
      </pc:docMkLst>
      <pc:sldChg chg="modSp mod">
        <pc:chgData name="Ted Kim" userId="bcf32251-ca76-45f3-ae38-b6a8cdea8c39" providerId="ADAL" clId="{3528C7AD-FF5B-414E-ABF6-ABC1253C0726}" dt="2021-05-16T14:26:58.381" v="19" actId="20577"/>
        <pc:sldMkLst>
          <pc:docMk/>
          <pc:sldMk cId="2472792447" sldId="2146846465"/>
        </pc:sldMkLst>
        <pc:spChg chg="mod">
          <ac:chgData name="Ted Kim" userId="bcf32251-ca76-45f3-ae38-b6a8cdea8c39" providerId="ADAL" clId="{3528C7AD-FF5B-414E-ABF6-ABC1253C0726}" dt="2021-05-16T14:26:58.381" v="19" actId="20577"/>
          <ac:spMkLst>
            <pc:docMk/>
            <pc:sldMk cId="2472792447" sldId="2146846465"/>
            <ac:spMk id="3" creationId="{42D8B224-EE04-45FD-B056-79328434281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3F7F26-4F69-4C3E-8E4D-192DE84EA8B5}" type="datetimeFigureOut">
              <a:rPr lang="en-US" smtClean="0"/>
              <a:t>5/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E6CC4D-A79B-4641-B363-7357F80151F1}" type="slidenum">
              <a:rPr lang="en-US" smtClean="0"/>
              <a:t>‹#›</a:t>
            </a:fld>
            <a:endParaRPr lang="en-US"/>
          </a:p>
        </p:txBody>
      </p:sp>
    </p:spTree>
    <p:extLst>
      <p:ext uri="{BB962C8B-B14F-4D97-AF65-F5344CB8AC3E}">
        <p14:creationId xmlns:p14="http://schemas.microsoft.com/office/powerpoint/2010/main" val="3897025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B976D8D5-0ECD-3A4D-8E63-E16D685F0695}" type="slidenum">
              <a:rPr lang="en-US" smtClean="0"/>
              <a:pPr/>
              <a:t>1</a:t>
            </a:fld>
            <a:endParaRPr lang="en-US"/>
          </a:p>
        </p:txBody>
      </p:sp>
      <p:sp>
        <p:nvSpPr>
          <p:cNvPr id="8" name="Date Placeholder 7">
            <a:extLst>
              <a:ext uri="{FF2B5EF4-FFF2-40B4-BE49-F238E27FC236}">
                <a16:creationId xmlns:a16="http://schemas.microsoft.com/office/drawing/2014/main" id="{CAD99D68-8FB8-A94E-AA84-8CC3DEF4C575}"/>
              </a:ext>
            </a:extLst>
          </p:cNvPr>
          <p:cNvSpPr>
            <a:spLocks noGrp="1"/>
          </p:cNvSpPr>
          <p:nvPr>
            <p:ph type="dt" idx="1"/>
          </p:nvPr>
        </p:nvSpPr>
        <p:spPr/>
        <p:txBody>
          <a:bodyPr/>
          <a:lstStyle/>
          <a:p>
            <a:endParaRPr lang="en-US"/>
          </a:p>
        </p:txBody>
      </p:sp>
    </p:spTree>
    <p:extLst>
      <p:ext uri="{BB962C8B-B14F-4D97-AF65-F5344CB8AC3E}">
        <p14:creationId xmlns:p14="http://schemas.microsoft.com/office/powerpoint/2010/main" val="1232509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a:t>There are several trends in the healthcare and life science that were accelerated significantly by the COVID pandemic of 2020.  These include virtual health, virtual work and school, remote assist, use of artificial intelligence in HLS, virtual clinical trials and development and deployment of vaccines.  </a:t>
            </a:r>
          </a:p>
          <a:p>
            <a:pPr marL="0" indent="0">
              <a:buFont typeface="+mj-lt"/>
              <a:buNone/>
            </a:pPr>
            <a:endParaRPr lang="en-US"/>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1"/>
              <a:t>Virtual Health –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ior to COVID-19, movement to virtual health was a slow, steady progression forward - overcoming obstacles such as payment barriers (especially in reimbursement models by private and government payors), medical licensure standards and ability to practice across state lines, and patient/physician preference (and need) for in-person exams. Over the past few years, companies like Teladoc and </a:t>
            </a:r>
            <a:r>
              <a:rPr kumimoji="0" lang="en-US" sz="1200" b="0"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MDLive</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have forged ahead with new business models and platforms that were of high interest to employers and some payor organizations.  With the pandemic, virtual visits </a:t>
            </a:r>
            <a:r>
              <a:rPr lang="en-US"/>
              <a:t>went from less than one percent of visits to well over 30% percent of visits by July/August of 2020.  While there has been some decline it seems clear that virtual visits are here to stay leveling off around 10%.  In parallel with virtual visits, we have seen a move to a more comprehensive virtual health process that includes managing care across the continuum including using remote monitoring to augment patient reported data.  We have also seen an expansion of the digital front door </a:t>
            </a:r>
            <a:r>
              <a:rPr lang="en-US" sz="1200"/>
              <a:t>serving patients with easy to access medical content, credible triage and guided recommendations.  </a:t>
            </a:r>
            <a:r>
              <a:rPr lang="en-US"/>
              <a:t>It was not just virtual patient visits that saw a significant escalation but virtual rounding and virtual caregiver collaboration in general saw an uptick with physicians working 2 – 3 days a week from home.</a:t>
            </a:r>
          </a:p>
          <a:p>
            <a:pPr marL="0" indent="0">
              <a:buFont typeface="+mj-lt"/>
              <a:buNone/>
            </a:pPr>
            <a:endParaRPr lang="en-US"/>
          </a:p>
          <a:p>
            <a:pPr marL="0" indent="0">
              <a:buFont typeface="+mj-lt"/>
              <a:buNone/>
            </a:pPr>
            <a:r>
              <a:rPr lang="en-US" b="1"/>
              <a:t>Virtual Work &amp; School </a:t>
            </a:r>
            <a:r>
              <a:rPr lang="en-US"/>
              <a:t>– hybrid model, virtual conferencing, remote access, health equity.  Baseline testing on a regular basis.  Return to School - Huge problem for equity – front line works hurt economically.  At home inexpensive testing.  Community positive rates and zones affect back to school.  Test surrounding communities.  US Davis study.  Schools then community and genomic testing.  Direct outreach.</a:t>
            </a:r>
          </a:p>
          <a:p>
            <a:pPr marL="457200" indent="-457200">
              <a:buFont typeface="+mj-lt"/>
              <a:buAutoNum type="arabicPeriod"/>
            </a:pPr>
            <a:endParaRPr lang="en-US"/>
          </a:p>
          <a:p>
            <a:pPr marL="0" indent="0">
              <a:buFont typeface="+mj-lt"/>
              <a:buNone/>
            </a:pPr>
            <a:r>
              <a:rPr lang="en-US" b="1"/>
              <a:t>Remote Assist </a:t>
            </a:r>
            <a:r>
              <a:rPr lang="en-US"/>
              <a:t>– virtual bio-medical support, rural care</a:t>
            </a:r>
          </a:p>
          <a:p>
            <a:pPr marL="0" indent="0">
              <a:buFont typeface="+mj-lt"/>
              <a:buNone/>
            </a:pPr>
            <a:r>
              <a:rPr lang="en-US" b="0" i="0">
                <a:solidFill>
                  <a:srgbClr val="333333"/>
                </a:solidFill>
                <a:effectLst/>
                <a:latin typeface="Exchange"/>
              </a:rPr>
              <a:t>We see a strong move to remote and mobile assist in many of our partners including med Tech and companies like Nuance in the voice dictation space.</a:t>
            </a:r>
          </a:p>
          <a:p>
            <a:pPr marL="0" indent="0">
              <a:buFont typeface="+mj-lt"/>
              <a:buNone/>
            </a:pPr>
            <a:r>
              <a:rPr lang="en-US" b="0" i="0">
                <a:solidFill>
                  <a:srgbClr val="333333"/>
                </a:solidFill>
                <a:effectLst/>
                <a:latin typeface="Exchange"/>
              </a:rPr>
              <a:t>Augmented reality superimposes digital content, such as 3-D images or visual instructions, onto a user’s view of the real world. Since March, Sheba Medical Center has used five HoloLens 2 headsets to train about 60 physicians, biomedical engineers and nurses on how to operate ventilators for Covid-19 patients.</a:t>
            </a:r>
            <a:endParaRPr lang="en-US"/>
          </a:p>
          <a:p>
            <a:pPr marL="0" indent="0">
              <a:buFont typeface="+mj-lt"/>
              <a:buNone/>
            </a:pPr>
            <a:endParaRPr lang="en-US"/>
          </a:p>
          <a:p>
            <a:pPr marL="0" indent="0">
              <a:buFont typeface="+mj-lt"/>
              <a:buNone/>
            </a:pPr>
            <a:r>
              <a:rPr lang="en-US" b="1"/>
              <a:t>Artificial Intelligence </a:t>
            </a:r>
            <a:r>
              <a:rPr lang="en-US"/>
              <a:t>– AI\ML has been a source of optimism in HLS for several years.  The pandemic is showing us that the benefits of artificial intelligence (AI) applied to health and medicine are undeniable:   dashboarding rates, testing, vaccination and vulnerable communities, using AI to calculate the numbers of citizens in each vaccination priority category and using health bots to scale consumer support for answers, freeing clinicians to focus on care while maintaining high levels of consumer satisfaction. 2021 is expected to be a year where health systems make unprecedented investments in AI to improve quality, reduce costs, and create more personalized experiences for patients and health consumers alike. </a:t>
            </a:r>
          </a:p>
          <a:p>
            <a:pPr marL="0" indent="0">
              <a:buFont typeface="+mj-lt"/>
              <a:buNone/>
            </a:pPr>
            <a:endParaRPr lang="en-US"/>
          </a:p>
          <a:p>
            <a:pPr marL="0" indent="0">
              <a:buFont typeface="+mj-lt"/>
              <a:buNone/>
            </a:pPr>
            <a:r>
              <a:rPr lang="en-US" b="1"/>
              <a:t>Virtual Clinical Trials </a:t>
            </a:r>
            <a:r>
              <a:rPr lang="en-US"/>
              <a:t>– Modernizing clinical trials has been a theme for the past few years in the BioPharma Industry. </a:t>
            </a:r>
            <a:r>
              <a:rPr lang="en-US" b="0" i="0">
                <a:solidFill>
                  <a:srgbClr val="000000"/>
                </a:solidFill>
                <a:effectLst/>
                <a:latin typeface="Times New Roman" panose="02020603050405020304" pitchFamily="18" charset="0"/>
              </a:rPr>
              <a:t>Decentralized clinical trials is a term that has evolved over time and represents a continuum of virtual health components that may be incorporated into the clinical trial. Importantly, the term allows for flexibility within the industry managing multiple clinical trials at any given time to leverage the appropriate set of applications and platform tools fit for purpose to the specific clinical trial and the preference of engagement of each patient participating in a clinical trial.  With the pandemic we saw the </a:t>
            </a:r>
            <a:r>
              <a:rPr lang="en-US"/>
              <a:t>streamlining of research and development including </a:t>
            </a:r>
            <a:r>
              <a:rPr lang="en-US" b="0" i="0">
                <a:solidFill>
                  <a:srgbClr val="000000"/>
                </a:solidFill>
                <a:effectLst/>
                <a:latin typeface="Times New Roman" panose="02020603050405020304" pitchFamily="18" charset="0"/>
              </a:rPr>
              <a:t>ways to reduce the time in each of the three phases of clinical trials without reducing safety.  We fully expect that the tools of virtual care like  remote monitoring through </a:t>
            </a:r>
            <a:r>
              <a:rPr lang="en-US"/>
              <a:t>IoMT, virtual trial coordination and collaboration and the use of chat bots and a digital front door to begin to root themselves in the BioPharma clinical trials ecosystem.</a:t>
            </a:r>
          </a:p>
          <a:p>
            <a:pPr marL="0" indent="0">
              <a:buFont typeface="+mj-lt"/>
              <a:buNone/>
            </a:pPr>
            <a:endParaRPr lang="en-US"/>
          </a:p>
          <a:p>
            <a:pPr marL="0" indent="0">
              <a:buFont typeface="+mj-lt"/>
              <a:buNone/>
            </a:pPr>
            <a:r>
              <a:rPr lang="en-US" b="1"/>
              <a:t>Vaccines</a:t>
            </a:r>
            <a:r>
              <a:rPr lang="en-US"/>
              <a:t> – The covid pandemic accelerated the use of AI in speeding up the vaccine discovery process.  It also highlighted the deficiencies of our aging and inadequate public health system in the US.  We have seen the replacement or augmentation of old immunization information systems with new comprehensive vaccine management systems. These are likely to remain and be enhanced in various ways in the post pandemic period.  We have also had to develop new lines of supply including extreme cold chain.  We have seen early attempts in the US for commercial players like retail companies and health plans try to step into the vaccination breach with limited success to date (we should watch this development).  The new frontier that might emerge soon is the booster market as we see more and more variants of covid 19,</a:t>
            </a:r>
          </a:p>
          <a:p>
            <a:pPr marL="0" indent="0">
              <a:buFont typeface="+mj-lt"/>
              <a:buNone/>
            </a:pPr>
            <a:endParaRPr lang="en-US"/>
          </a:p>
          <a:p>
            <a:pPr marL="0" indent="0">
              <a:buFont typeface="+mj-lt"/>
              <a:buNone/>
            </a:pPr>
            <a:r>
              <a:rPr lang="en-US"/>
              <a:t>The pandemic has clearly highlighted the inequities in vaccine R&amp;D including exclusive clinical trials, disproportionate disease burden and the inequitable vaccination public health process.  There are also systemic reasons for levels of distrust in the vaccines and Microsoft is working with the Global Health Crisis Coordination Center in Atlanta along with many of our provider, payor and life science companies to provide scientifically based education to address this distrust.</a:t>
            </a:r>
          </a:p>
          <a:p>
            <a:pPr marL="457200" indent="-457200">
              <a:buFont typeface="+mj-lt"/>
              <a:buAutoNum type="arabicPeriod"/>
            </a:pPr>
            <a:endParaRPr lang="en-US"/>
          </a:p>
          <a:p>
            <a:endParaRPr lang="en-US"/>
          </a:p>
        </p:txBody>
      </p:sp>
      <p:sp>
        <p:nvSpPr>
          <p:cNvPr id="4" name="Slide Number Placeholder 3"/>
          <p:cNvSpPr>
            <a:spLocks noGrp="1"/>
          </p:cNvSpPr>
          <p:nvPr>
            <p:ph type="sldNum" sz="quarter" idx="5"/>
          </p:nvPr>
        </p:nvSpPr>
        <p:spPr/>
        <p:txBody>
          <a:bodyPr/>
          <a:lstStyle/>
          <a:p>
            <a:fld id="{9223734B-DFB4-48E6-8EFE-F43F2F343F1B}" type="slidenum">
              <a:rPr lang="en-US" smtClean="0"/>
              <a:t>2</a:t>
            </a:fld>
            <a:endParaRPr lang="en-US"/>
          </a:p>
        </p:txBody>
      </p:sp>
    </p:spTree>
    <p:extLst>
      <p:ext uri="{BB962C8B-B14F-4D97-AF65-F5344CB8AC3E}">
        <p14:creationId xmlns:p14="http://schemas.microsoft.com/office/powerpoint/2010/main" val="798263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2" indent="-171450" defTabSz="914367">
              <a:lnSpc>
                <a:spcPts val="1765"/>
              </a:lnSpc>
              <a:spcAft>
                <a:spcPts val="600"/>
              </a:spcAft>
              <a:buSzPct val="90000"/>
              <a:buFont typeface="Arial" panose="020B0604020202020204" pitchFamily="34" charset="0"/>
              <a:buChar char="•"/>
            </a:pPr>
            <a:r>
              <a:rPr lang="en-US" sz="1000"/>
              <a:t>Reference All of Us Bus</a:t>
            </a:r>
          </a:p>
          <a:p>
            <a:pPr marL="171450" lvl="2" indent="-171450" defTabSz="914367">
              <a:lnSpc>
                <a:spcPts val="1765"/>
              </a:lnSpc>
              <a:spcAft>
                <a:spcPts val="600"/>
              </a:spcAft>
              <a:buSzPct val="90000"/>
              <a:buFont typeface="Arial" panose="020B0604020202020204" pitchFamily="34" charset="0"/>
              <a:buChar char="•"/>
            </a:pPr>
            <a:r>
              <a:rPr lang="en-US" sz="1000"/>
              <a:t>C</a:t>
            </a:r>
            <a:r>
              <a:rPr lang="en-US" sz="1000" b="0" i="0">
                <a:effectLst/>
              </a:rPr>
              <a:t>areer coaching</a:t>
            </a:r>
            <a:endParaRPr lang="en-US" sz="1000"/>
          </a:p>
          <a:p>
            <a:pPr marL="171450" lvl="2" indent="-171450" defTabSz="914367">
              <a:lnSpc>
                <a:spcPts val="1765"/>
              </a:lnSpc>
              <a:spcAft>
                <a:spcPts val="600"/>
              </a:spcAft>
              <a:buSzPct val="90000"/>
              <a:buFont typeface="Arial" panose="020B0604020202020204" pitchFamily="34" charset="0"/>
              <a:buChar char="•"/>
            </a:pPr>
            <a:r>
              <a:rPr lang="en-US" sz="1000" b="0" i="0">
                <a:effectLst/>
              </a:rPr>
              <a:t>Office hours</a:t>
            </a:r>
          </a:p>
          <a:p>
            <a:pPr marL="171450" lvl="1" indent="-171450" defTabSz="914367">
              <a:lnSpc>
                <a:spcPts val="1765"/>
              </a:lnSpc>
              <a:spcAft>
                <a:spcPts val="600"/>
              </a:spcAft>
              <a:buSzPct val="90000"/>
              <a:buFont typeface="Arial" panose="020B0604020202020204" pitchFamily="34" charset="0"/>
              <a:buChar char="•"/>
            </a:pPr>
            <a:r>
              <a:rPr lang="en-US" sz="1000" b="0" i="0">
                <a:effectLst/>
              </a:rPr>
              <a:t>Lower the intimidation factor of STEM</a:t>
            </a:r>
            <a:r>
              <a:rPr lang="en-US" sz="1000"/>
              <a:t>, raise the inspiration factor of Nursing</a:t>
            </a:r>
          </a:p>
          <a:p>
            <a:pPr marL="171450" lvl="1" indent="-171450" defTabSz="914367">
              <a:lnSpc>
                <a:spcPts val="1765"/>
              </a:lnSpc>
              <a:spcAft>
                <a:spcPts val="600"/>
              </a:spcAft>
              <a:buSzPct val="90000"/>
              <a:buFont typeface="Arial" panose="020B0604020202020204" pitchFamily="34" charset="0"/>
              <a:buChar char="•"/>
            </a:pPr>
            <a:r>
              <a:rPr lang="en-US" sz="1000" b="0" i="0">
                <a:effectLst/>
              </a:rPr>
              <a:t>Leverage appeal of nursing to males:</a:t>
            </a:r>
            <a:r>
              <a:rPr lang="en-US" sz="1000"/>
              <a:t> critical</a:t>
            </a:r>
            <a:r>
              <a:rPr lang="en-US" sz="1000" b="0" i="0">
                <a:effectLst/>
              </a:rPr>
              <a:t> thinking, </a:t>
            </a:r>
            <a:r>
              <a:rPr lang="en-US" sz="1000"/>
              <a:t>fast pace, physical</a:t>
            </a:r>
            <a:r>
              <a:rPr lang="en-US" sz="1000" b="0" i="0">
                <a:effectLst/>
              </a:rPr>
              <a:t>,</a:t>
            </a:r>
            <a:r>
              <a:rPr lang="en-US" sz="1000"/>
              <a:t> autonomy, highly technical/specialized skill set, career advancement, flight nursing, military nursing, informatics </a:t>
            </a:r>
            <a:endParaRPr lang="en-US" sz="1000" b="0" i="0">
              <a:effectLst/>
            </a:endParaRPr>
          </a:p>
          <a:p>
            <a:pPr marL="171450" lvl="1" indent="-171450" defTabSz="914367">
              <a:lnSpc>
                <a:spcPts val="1765"/>
              </a:lnSpc>
              <a:spcAft>
                <a:spcPts val="600"/>
              </a:spcAft>
              <a:buSzPct val="90000"/>
              <a:buFont typeface="Arial" panose="020B0604020202020204" pitchFamily="34" charset="0"/>
              <a:buChar char="•"/>
            </a:pPr>
            <a:r>
              <a:rPr lang="en-US" sz="1000"/>
              <a:t>Target middle and high school students</a:t>
            </a:r>
            <a:endParaRPr lang="en-US" sz="1000" b="0" i="0">
              <a:effectLst/>
            </a:endParaRPr>
          </a:p>
          <a:p>
            <a:endParaRPr lang="en-US"/>
          </a:p>
        </p:txBody>
      </p:sp>
      <p:sp>
        <p:nvSpPr>
          <p:cNvPr id="4" name="Slide Number Placeholder 3"/>
          <p:cNvSpPr>
            <a:spLocks noGrp="1"/>
          </p:cNvSpPr>
          <p:nvPr>
            <p:ph type="sldNum" sz="quarter" idx="5"/>
          </p:nvPr>
        </p:nvSpPr>
        <p:spPr/>
        <p:txBody>
          <a:bodyPr/>
          <a:lstStyle/>
          <a:p>
            <a:fld id="{A6BA4710-8F01-43B2-AC36-15A9AFBDE9B2}" type="slidenum">
              <a:rPr lang="en-US" smtClean="0"/>
              <a:t>8</a:t>
            </a:fld>
            <a:endParaRPr lang="en-US"/>
          </a:p>
        </p:txBody>
      </p:sp>
    </p:spTree>
    <p:extLst>
      <p:ext uri="{BB962C8B-B14F-4D97-AF65-F5344CB8AC3E}">
        <p14:creationId xmlns:p14="http://schemas.microsoft.com/office/powerpoint/2010/main" val="39494955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C6DDAB6C-F53B-4100-8288-802DD4259BB3}"/>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23665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606812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0440292"/>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E3AFAA-1858-4B6B-B389-2B87947005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3579872"/>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6105433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4364422"/>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1147330"/>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3084083"/>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8190391"/>
      </p:ext>
    </p:extLst>
  </p:cSld>
  <p:clrMapOvr>
    <a:masterClrMapping/>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2958584"/>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4531387"/>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2"/>
      </p:bgRef>
    </p:bg>
    <p:spTree>
      <p:nvGrpSpPr>
        <p:cNvPr id="1" name=""/>
        <p:cNvGrpSpPr/>
        <p:nvPr/>
      </p:nvGrpSpPr>
      <p:grpSpPr>
        <a:xfrm>
          <a:off x="0" y="0"/>
          <a:ext cx="0" cy="0"/>
          <a:chOff x="0" y="0"/>
          <a:chExt cx="0" cy="0"/>
        </a:xfrm>
      </p:grpSpPr>
      <p:pic>
        <p:nvPicPr>
          <p:cNvPr id="9" name="Picture 8" descr="A person wearing a blue hat&#10;&#10;Description automatically generated">
            <a:extLst>
              <a:ext uri="{FF2B5EF4-FFF2-40B4-BE49-F238E27FC236}">
                <a16:creationId xmlns:a16="http://schemas.microsoft.com/office/drawing/2014/main" id="{FE635829-CE4A-4FE6-83D2-8756C5BCBF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3998" y="0"/>
            <a:ext cx="6858001"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40108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2301604"/>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0377990"/>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5120280"/>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1005490"/>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1822913"/>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837946"/>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8571253"/>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55326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4418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1098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3">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911FCB-168A-4CEC-8F37-D220A54E91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39049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58084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34944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111441"/>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8152321"/>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4149526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73306364"/>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J&amp;J Signature">
    <p:bg>
      <p:bgPr>
        <a:solidFill>
          <a:srgbClr val="F4F4F4">
            <a:alpha val="0"/>
          </a:srgbClr>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063382471"/>
      </p:ext>
    </p:extLst>
  </p:cSld>
  <p:clrMapOvr>
    <a:masterClrMapping/>
  </p:clrMapOvr>
  <p:transition>
    <p:fade/>
  </p:transition>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301770"/>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72349861"/>
      </p:ext>
    </p:extLst>
  </p:cSld>
  <p:clrMapOvr>
    <a:masterClrMapping/>
  </p:clrMapOvr>
  <p:transition>
    <p:fade/>
  </p:transition>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Blue Bar">
    <p:bg>
      <p:bgRef idx="1001">
        <a:schemeClr val="bg1"/>
      </p:bgRef>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hasCustomPrompt="1"/>
          </p:nvPr>
        </p:nvSpPr>
        <p:spPr>
          <a:xfrm>
            <a:off x="215882" y="164545"/>
            <a:ext cx="10757099" cy="677108"/>
          </a:xfrm>
        </p:spPr>
        <p:txBody>
          <a:bodyPr lIns="146304" tIns="91440" rIns="146304" bIns="91440"/>
          <a:lstStyle>
            <a:lvl1pPr marL="0" indent="0">
              <a:buNone/>
              <a:defRPr lang="en-US" sz="3200" b="0" kern="1200" cap="none" spc="-50"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pPr marL="252061" lvl="0" indent="-504121">
              <a:spcBef>
                <a:spcPct val="0"/>
              </a:spcBef>
            </a:pPr>
            <a:r>
              <a:rPr lang="en-US"/>
              <a:t>Edit Master text styles</a:t>
            </a:r>
          </a:p>
        </p:txBody>
      </p:sp>
    </p:spTree>
    <p:extLst>
      <p:ext uri="{BB962C8B-B14F-4D97-AF65-F5344CB8AC3E}">
        <p14:creationId xmlns:p14="http://schemas.microsoft.com/office/powerpoint/2010/main" val="895156804"/>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B47F3-29F3-4D09-8EE8-70C48BBF47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265B0A-53E8-4372-8EDA-3A4AA584CEC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DE3E02-D243-4EC6-9343-EC53557CD17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A9923C6-C6BB-45F6-968C-6482A42F09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5DBAD4-4F65-42FD-8256-64DE5A63D2E1}"/>
              </a:ext>
            </a:extLst>
          </p:cNvPr>
          <p:cNvSpPr>
            <a:spLocks noGrp="1"/>
          </p:cNvSpPr>
          <p:nvPr>
            <p:ph type="sldNum" sz="quarter" idx="12"/>
          </p:nvPr>
        </p:nvSpPr>
        <p:spPr/>
        <p:txBody>
          <a:bodyPr/>
          <a:lstStyle/>
          <a:p>
            <a:fld id="{BDF0C3E5-1062-4A28-81F3-E64FA4CA0D70}" type="slidenum">
              <a:rPr lang="en-US" smtClean="0"/>
              <a:t>‹#›</a:t>
            </a:fld>
            <a:endParaRPr lang="en-US"/>
          </a:p>
        </p:txBody>
      </p:sp>
    </p:spTree>
    <p:extLst>
      <p:ext uri="{BB962C8B-B14F-4D97-AF65-F5344CB8AC3E}">
        <p14:creationId xmlns:p14="http://schemas.microsoft.com/office/powerpoint/2010/main" val="177429042"/>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quare photo 4">
    <p:bg>
      <p:bgRef idx="1001">
        <a:schemeClr val="bg2"/>
      </p:bgRef>
    </p:bg>
    <p:spTree>
      <p:nvGrpSpPr>
        <p:cNvPr id="1" name=""/>
        <p:cNvGrpSpPr/>
        <p:nvPr/>
      </p:nvGrpSpPr>
      <p:grpSpPr>
        <a:xfrm>
          <a:off x="0" y="0"/>
          <a:ext cx="0" cy="0"/>
          <a:chOff x="0" y="0"/>
          <a:chExt cx="0" cy="0"/>
        </a:xfrm>
      </p:grpSpPr>
      <p:pic>
        <p:nvPicPr>
          <p:cNvPr id="4" name="Picture 3" descr="A person standing in a kitchen preparing food&#10;&#10;Description automatically generated">
            <a:extLst>
              <a:ext uri="{FF2B5EF4-FFF2-40B4-BE49-F238E27FC236}">
                <a16:creationId xmlns:a16="http://schemas.microsoft.com/office/drawing/2014/main" id="{7BC51074-21DA-4FEE-878E-AB47607D40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37417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92D7C-1CFF-4133-93AC-13349F246A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3092D7C-1CFF-4133-93AC-13349F246A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658023910"/>
      </p:ext>
    </p:extLst>
  </p:cSld>
  <p:clrMapOvr>
    <a:masterClrMapping/>
  </p:clrMapOvr>
  <p:transition>
    <p:fade/>
  </p:transition>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quare photo 5">
    <p:bg>
      <p:bgRef idx="1001">
        <a:schemeClr val="bg2"/>
      </p:bgRef>
    </p:bg>
    <p:spTree>
      <p:nvGrpSpPr>
        <p:cNvPr id="1" name=""/>
        <p:cNvGrpSpPr/>
        <p:nvPr/>
      </p:nvGrpSpPr>
      <p:grpSpPr>
        <a:xfrm>
          <a:off x="0" y="0"/>
          <a:ext cx="0" cy="0"/>
          <a:chOff x="0" y="0"/>
          <a:chExt cx="0" cy="0"/>
        </a:xfrm>
      </p:grpSpPr>
      <p:pic>
        <p:nvPicPr>
          <p:cNvPr id="6" name="Picture 5" descr="A person preparing food in a kitchen&#10;&#10;Description automatically generated">
            <a:extLst>
              <a:ext uri="{FF2B5EF4-FFF2-40B4-BE49-F238E27FC236}">
                <a16:creationId xmlns:a16="http://schemas.microsoft.com/office/drawing/2014/main" id="{E97DC9A8-6EAE-43B7-9BB4-4158DF272C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95249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0886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92818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349406"/>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3094162"/>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043715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04" r:id="rId5"/>
    <p:sldLayoutId id="2147483666" r:id="rId6"/>
    <p:sldLayoutId id="2147483705" r:id="rId7"/>
    <p:sldLayoutId id="2147483706" r:id="rId8"/>
    <p:sldLayoutId id="2147483707" r:id="rId9"/>
    <p:sldLayoutId id="2147483708"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709" r:id="rId36"/>
    <p:sldLayoutId id="2147483710" r:id="rId37"/>
    <p:sldLayoutId id="2147483711" r:id="rId38"/>
    <p:sldLayoutId id="2147483712" r:id="rId39"/>
    <p:sldLayoutId id="214748371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6.xml"/><Relationship Id="rId1" Type="http://schemas.openxmlformats.org/officeDocument/2006/relationships/tags" Target="../tags/tag3.xml"/><Relationship Id="rId5" Type="http://schemas.openxmlformats.org/officeDocument/2006/relationships/image" Target="../media/image15.png"/><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9.jpeg"/><Relationship Id="rId5" Type="http://schemas.openxmlformats.org/officeDocument/2006/relationships/image" Target="../media/image18.jpeg"/><Relationship Id="rId10" Type="http://schemas.openxmlformats.org/officeDocument/2006/relationships/hyperlink" Target="https://www.aacnnursing.org/Portals/42/News/Factsheets/Enhancing-Diversity-Factsheet.pdf" TargetMode="External"/><Relationship Id="rId4" Type="http://schemas.openxmlformats.org/officeDocument/2006/relationships/image" Target="../media/image17.jpeg"/><Relationship Id="rId9" Type="http://schemas.openxmlformats.org/officeDocument/2006/relationships/hyperlink" Target="https://www.aacnnursing.org/news-information/fact-sheets/nursing-shortage"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png"/><Relationship Id="rId9" Type="http://schemas.openxmlformats.org/officeDocument/2006/relationships/image" Target="../media/image29.jpeg"/></Relationships>
</file>

<file path=ppt/slides/_rels/slide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Layout" Target="../slideLayouts/slideLayout24.xml"/><Relationship Id="rId5" Type="http://schemas.openxmlformats.org/officeDocument/2006/relationships/image" Target="../media/image33.png"/><Relationship Id="rId4" Type="http://schemas.openxmlformats.org/officeDocument/2006/relationships/image" Target="../media/image32.jpe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jpeg"/><Relationship Id="rId2" Type="http://schemas.openxmlformats.org/officeDocument/2006/relationships/image" Target="../media/image36.jpeg"/><Relationship Id="rId1" Type="http://schemas.openxmlformats.org/officeDocument/2006/relationships/slideLayout" Target="../slideLayouts/slideLayout40.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 Id="rId9" Type="http://schemas.openxmlformats.org/officeDocument/2006/relationships/image" Target="../media/image43.jpeg"/></Relationships>
</file>

<file path=ppt/slides/_rels/slide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2FA55B7-ACFF-1848-9FD5-7B82174607FA}"/>
              </a:ext>
            </a:extLst>
          </p:cNvPr>
          <p:cNvPicPr>
            <a:picLocks noChangeAspect="1"/>
          </p:cNvPicPr>
          <p:nvPr/>
        </p:nvPicPr>
        <p:blipFill>
          <a:blip r:embed="rId4"/>
          <a:stretch>
            <a:fillRect/>
          </a:stretch>
        </p:blipFill>
        <p:spPr>
          <a:xfrm>
            <a:off x="198232" y="844502"/>
            <a:ext cx="11721476" cy="2936631"/>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33B1C869-B8A3-6C40-A4AF-6C40AC933765}"/>
              </a:ext>
            </a:extLst>
          </p:cNvPr>
          <p:cNvPicPr>
            <a:picLocks noChangeAspect="1"/>
          </p:cNvPicPr>
          <p:nvPr/>
        </p:nvPicPr>
        <p:blipFill>
          <a:blip r:embed="rId5"/>
          <a:stretch>
            <a:fillRect/>
          </a:stretch>
        </p:blipFill>
        <p:spPr>
          <a:xfrm>
            <a:off x="-480060" y="4789170"/>
            <a:ext cx="12958942" cy="2311835"/>
          </a:xfrm>
          <a:prstGeom prst="rect">
            <a:avLst/>
          </a:prstGeom>
        </p:spPr>
      </p:pic>
      <p:sp>
        <p:nvSpPr>
          <p:cNvPr id="2" name="TextBox 1">
            <a:extLst>
              <a:ext uri="{FF2B5EF4-FFF2-40B4-BE49-F238E27FC236}">
                <a16:creationId xmlns:a16="http://schemas.microsoft.com/office/drawing/2014/main" id="{D41D5FDD-56FF-45ED-A864-BA81E4F726B2}"/>
              </a:ext>
            </a:extLst>
          </p:cNvPr>
          <p:cNvSpPr txBox="1"/>
          <p:nvPr/>
        </p:nvSpPr>
        <p:spPr>
          <a:xfrm>
            <a:off x="198232" y="3638821"/>
            <a:ext cx="11448823" cy="1292662"/>
          </a:xfrm>
          <a:prstGeom prst="rect">
            <a:avLst/>
          </a:prstGeom>
          <a:noFill/>
        </p:spPr>
        <p:txBody>
          <a:bodyPr wrap="square" lIns="0" tIns="0" rIns="0" bIns="0" rtlCol="0">
            <a:spAutoFit/>
          </a:bodyPr>
          <a:lstStyle/>
          <a:p>
            <a:pPr algn="ctr"/>
            <a:r>
              <a:rPr lang="en-US" sz="2800" i="1"/>
              <a:t>Team </a:t>
            </a:r>
            <a:r>
              <a:rPr lang="en-US" sz="2800" b="1" i="1"/>
              <a:t>NERDS</a:t>
            </a:r>
            <a:r>
              <a:rPr lang="en-US" sz="2800" i="1"/>
              <a:t>:  </a:t>
            </a:r>
            <a:br>
              <a:rPr lang="en-US" sz="2800" i="1"/>
            </a:br>
            <a:r>
              <a:rPr lang="en-US" sz="2800" b="0" i="1">
                <a:effectLst/>
                <a:latin typeface="Segoe UI"/>
                <a:cs typeface="Segoe UI"/>
              </a:rPr>
              <a:t>Tackling the challenge of recruiting more diverse candidates </a:t>
            </a:r>
            <a:br>
              <a:rPr lang="en-US" sz="2800" b="0" i="1">
                <a:effectLst/>
                <a:latin typeface="Segoe UI"/>
                <a:cs typeface="Segoe UI"/>
              </a:rPr>
            </a:br>
            <a:r>
              <a:rPr lang="en-US" sz="2800" b="0" i="1">
                <a:effectLst/>
                <a:latin typeface="Segoe UI"/>
                <a:cs typeface="Segoe UI"/>
              </a:rPr>
              <a:t>into nursing—by taking recruiting to the streets.</a:t>
            </a:r>
          </a:p>
        </p:txBody>
      </p:sp>
    </p:spTree>
    <p:custDataLst>
      <p:tags r:id="rId1"/>
    </p:custData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2F4A3-5538-4FD4-A0A1-A66D50B99D78}"/>
              </a:ext>
            </a:extLst>
          </p:cNvPr>
          <p:cNvSpPr>
            <a:spLocks noGrp="1"/>
          </p:cNvSpPr>
          <p:nvPr>
            <p:ph type="title"/>
          </p:nvPr>
        </p:nvSpPr>
        <p:spPr/>
        <p:txBody>
          <a:bodyPr/>
          <a:lstStyle/>
          <a:p>
            <a:r>
              <a:rPr lang="en-US"/>
              <a:t>Appendix</a:t>
            </a:r>
          </a:p>
        </p:txBody>
      </p:sp>
      <p:sp>
        <p:nvSpPr>
          <p:cNvPr id="3" name="Content Placeholder 2">
            <a:extLst>
              <a:ext uri="{FF2B5EF4-FFF2-40B4-BE49-F238E27FC236}">
                <a16:creationId xmlns:a16="http://schemas.microsoft.com/office/drawing/2014/main" id="{76F8222E-B005-4A67-9845-297EA629022B}"/>
              </a:ext>
            </a:extLst>
          </p:cNvPr>
          <p:cNvSpPr>
            <a:spLocks noGrp="1"/>
          </p:cNvSpPr>
          <p:nvPr>
            <p:ph sz="quarter" idx="10"/>
          </p:nvPr>
        </p:nvSpPr>
        <p:spPr/>
        <p:txBody>
          <a:bodyPr/>
          <a:lstStyle/>
          <a:p>
            <a:endParaRPr lang="en-US"/>
          </a:p>
        </p:txBody>
      </p:sp>
      <p:sp>
        <p:nvSpPr>
          <p:cNvPr id="5" name="TextBox 4">
            <a:extLst>
              <a:ext uri="{FF2B5EF4-FFF2-40B4-BE49-F238E27FC236}">
                <a16:creationId xmlns:a16="http://schemas.microsoft.com/office/drawing/2014/main" id="{987D78DD-0461-4067-94AE-48463FF8F5A9}"/>
              </a:ext>
            </a:extLst>
          </p:cNvPr>
          <p:cNvSpPr txBox="1"/>
          <p:nvPr/>
        </p:nvSpPr>
        <p:spPr>
          <a:xfrm>
            <a:off x="4148033" y="6728822"/>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Tree>
    <p:extLst>
      <p:ext uri="{BB962C8B-B14F-4D97-AF65-F5344CB8AC3E}">
        <p14:creationId xmlns:p14="http://schemas.microsoft.com/office/powerpoint/2010/main" val="36755499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60CE7-2E4D-4963-97C3-CA65163F13FD}"/>
              </a:ext>
            </a:extLst>
          </p:cNvPr>
          <p:cNvSpPr>
            <a:spLocks noGrp="1"/>
          </p:cNvSpPr>
          <p:nvPr>
            <p:ph type="title"/>
          </p:nvPr>
        </p:nvSpPr>
        <p:spPr>
          <a:xfrm>
            <a:off x="588963" y="457200"/>
            <a:ext cx="11017250" cy="984885"/>
          </a:xfrm>
        </p:spPr>
        <p:txBody>
          <a:bodyPr>
            <a:spAutoFit/>
          </a:bodyPr>
          <a:lstStyle/>
          <a:p>
            <a:r>
              <a:rPr lang="en-US"/>
              <a:t>The Need for Recruiting Diverse Talent to Nursing</a:t>
            </a:r>
            <a:br>
              <a:rPr lang="en-US"/>
            </a:br>
            <a:r>
              <a:rPr lang="en-US" sz="2800" i="1" spc="0">
                <a:solidFill>
                  <a:schemeClr val="accent1"/>
                </a:solidFill>
                <a:latin typeface="+mn-lt"/>
              </a:rPr>
              <a:t>Escalated trends already in place </a:t>
            </a:r>
            <a:endParaRPr lang="en-US" i="1" spc="0">
              <a:solidFill>
                <a:schemeClr val="accent1"/>
              </a:solidFill>
              <a:latin typeface="+mn-lt"/>
            </a:endParaRPr>
          </a:p>
        </p:txBody>
      </p:sp>
      <p:sp>
        <p:nvSpPr>
          <p:cNvPr id="19" name="Rectangle 18" descr="Virtual health&#10;">
            <a:extLst>
              <a:ext uri="{FF2B5EF4-FFF2-40B4-BE49-F238E27FC236}">
                <a16:creationId xmlns:a16="http://schemas.microsoft.com/office/drawing/2014/main" id="{27CCA6FD-F760-4014-B5A8-FBAE5A676152}"/>
              </a:ext>
            </a:extLst>
          </p:cNvPr>
          <p:cNvSpPr/>
          <p:nvPr/>
        </p:nvSpPr>
        <p:spPr bwMode="auto">
          <a:xfrm>
            <a:off x="585216" y="1889451"/>
            <a:ext cx="3566160" cy="2121408"/>
          </a:xfrm>
          <a:prstGeom prst="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spcBef>
                <a:spcPct val="0"/>
              </a:spcBef>
              <a:spcAft>
                <a:spcPct val="0"/>
              </a:spcAft>
            </a:pPr>
            <a:r>
              <a:rPr lang="en-US" sz="2000" b="1">
                <a:cs typeface="Segoe UI"/>
              </a:rPr>
              <a:t>Severe nursing shortage</a:t>
            </a:r>
            <a:endParaRPr lang="en-US" sz="2000" b="1">
              <a:solidFill>
                <a:srgbClr val="FFFFFF"/>
              </a:solidFill>
              <a:ea typeface="Segoe UI" pitchFamily="34" charset="0"/>
              <a:cs typeface="Segoe UI" pitchFamily="34" charset="0"/>
            </a:endParaRPr>
          </a:p>
        </p:txBody>
      </p:sp>
      <p:sp>
        <p:nvSpPr>
          <p:cNvPr id="20" name="Rectangle 19" descr="Virtual work and school&#10;">
            <a:extLst>
              <a:ext uri="{FF2B5EF4-FFF2-40B4-BE49-F238E27FC236}">
                <a16:creationId xmlns:a16="http://schemas.microsoft.com/office/drawing/2014/main" id="{EE26F3BF-4F97-4BA7-BCC3-F3DD53B9FD7C}"/>
              </a:ext>
            </a:extLst>
          </p:cNvPr>
          <p:cNvSpPr/>
          <p:nvPr/>
        </p:nvSpPr>
        <p:spPr bwMode="auto">
          <a:xfrm>
            <a:off x="4312920" y="1889451"/>
            <a:ext cx="3566160" cy="2121408"/>
          </a:xfrm>
          <a:prstGeom prst="rect">
            <a:avLst/>
          </a:prstGeom>
          <a:blipFill>
            <a:blip r:embed="rId4"/>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spcBef>
                <a:spcPct val="0"/>
              </a:spcBef>
              <a:spcAft>
                <a:spcPct val="0"/>
              </a:spcAft>
            </a:pPr>
            <a:r>
              <a:rPr lang="en-US" sz="2000" b="1">
                <a:cs typeface="Segoe UI"/>
              </a:rPr>
              <a:t>Lack of nursing school enrollment &amp; educators</a:t>
            </a:r>
            <a:endParaRPr lang="en-US" sz="2000" b="1">
              <a:solidFill>
                <a:srgbClr val="FFFFFF"/>
              </a:solidFill>
              <a:ea typeface="Segoe UI" pitchFamily="34" charset="0"/>
              <a:cs typeface="Segoe UI" pitchFamily="34" charset="0"/>
            </a:endParaRPr>
          </a:p>
        </p:txBody>
      </p:sp>
      <p:sp>
        <p:nvSpPr>
          <p:cNvPr id="21" name="Rectangle 20" descr="Remote assist&#10;">
            <a:extLst>
              <a:ext uri="{FF2B5EF4-FFF2-40B4-BE49-F238E27FC236}">
                <a16:creationId xmlns:a16="http://schemas.microsoft.com/office/drawing/2014/main" id="{2CA4CB99-4FF9-48D3-9C79-6C9C079B0AB7}"/>
              </a:ext>
            </a:extLst>
          </p:cNvPr>
          <p:cNvSpPr/>
          <p:nvPr/>
        </p:nvSpPr>
        <p:spPr bwMode="auto">
          <a:xfrm>
            <a:off x="8040624" y="1889451"/>
            <a:ext cx="3566160" cy="2121408"/>
          </a:xfrm>
          <a:prstGeom prst="rect">
            <a:avLst/>
          </a:prstGeom>
          <a:blipFill>
            <a:blip r:embed="rId5"/>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spcBef>
                <a:spcPct val="0"/>
              </a:spcBef>
              <a:spcAft>
                <a:spcPct val="0"/>
              </a:spcAft>
            </a:pPr>
            <a:r>
              <a:rPr lang="en-US" sz="2000" b="1">
                <a:cs typeface="Segoe UI"/>
              </a:rPr>
              <a:t>Changing population demographics</a:t>
            </a:r>
            <a:endParaRPr lang="en-US" sz="2000" b="1">
              <a:solidFill>
                <a:srgbClr val="FFFFFF"/>
              </a:solidFill>
              <a:ea typeface="Segoe UI" pitchFamily="34" charset="0"/>
              <a:cs typeface="Segoe UI" pitchFamily="34" charset="0"/>
            </a:endParaRPr>
          </a:p>
        </p:txBody>
      </p:sp>
      <p:sp>
        <p:nvSpPr>
          <p:cNvPr id="22" name="Rectangle 21" descr="Artificial intelligence&#10;">
            <a:extLst>
              <a:ext uri="{FF2B5EF4-FFF2-40B4-BE49-F238E27FC236}">
                <a16:creationId xmlns:a16="http://schemas.microsoft.com/office/drawing/2014/main" id="{07E9FE67-FF55-4D16-9BF3-56E6917C190F}"/>
              </a:ext>
            </a:extLst>
          </p:cNvPr>
          <p:cNvSpPr/>
          <p:nvPr/>
        </p:nvSpPr>
        <p:spPr bwMode="auto">
          <a:xfrm>
            <a:off x="585216" y="4147630"/>
            <a:ext cx="3566160" cy="2121408"/>
          </a:xfrm>
          <a:prstGeom prst="rect">
            <a:avLst/>
          </a:prstGeom>
          <a:blipFill dpi="0" rotWithShape="1">
            <a:blip r:embed="rId6"/>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spcBef>
                <a:spcPct val="0"/>
              </a:spcBef>
              <a:spcAft>
                <a:spcPct val="0"/>
              </a:spcAft>
            </a:pPr>
            <a:r>
              <a:rPr lang="en-US" sz="2000" b="1">
                <a:cs typeface="Segoe UI"/>
              </a:rPr>
              <a:t>High turnover rates</a:t>
            </a:r>
            <a:endParaRPr lang="en-US" sz="2000" b="1">
              <a:solidFill>
                <a:srgbClr val="FFFFFF"/>
              </a:solidFill>
              <a:ea typeface="Segoe UI" pitchFamily="34" charset="0"/>
              <a:cs typeface="Segoe UI" pitchFamily="34" charset="0"/>
            </a:endParaRPr>
          </a:p>
        </p:txBody>
      </p:sp>
      <p:sp>
        <p:nvSpPr>
          <p:cNvPr id="23" name="Rectangle 22" descr="Virtual clinical trials&#10;">
            <a:extLst>
              <a:ext uri="{FF2B5EF4-FFF2-40B4-BE49-F238E27FC236}">
                <a16:creationId xmlns:a16="http://schemas.microsoft.com/office/drawing/2014/main" id="{A17A08C4-6DB5-4771-968B-D9770F6EE29A}"/>
              </a:ext>
            </a:extLst>
          </p:cNvPr>
          <p:cNvSpPr/>
          <p:nvPr/>
        </p:nvSpPr>
        <p:spPr bwMode="auto">
          <a:xfrm>
            <a:off x="4312920" y="4147630"/>
            <a:ext cx="3566160" cy="2121408"/>
          </a:xfrm>
          <a:prstGeom prst="rect">
            <a:avLst/>
          </a:prstGeom>
          <a:blipFill dpi="0" rotWithShape="1">
            <a:blip r:embed="rId7"/>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spcBef>
                <a:spcPct val="0"/>
              </a:spcBef>
              <a:spcAft>
                <a:spcPct val="0"/>
              </a:spcAft>
            </a:pPr>
            <a:r>
              <a:rPr lang="en-US" sz="2000" b="1">
                <a:cs typeface="Segoe UI"/>
              </a:rPr>
              <a:t>19.2% of nurses are people of color</a:t>
            </a:r>
            <a:endParaRPr lang="en-US" sz="2000" b="1">
              <a:solidFill>
                <a:srgbClr val="FFFFFF"/>
              </a:solidFill>
              <a:ea typeface="Segoe UI" pitchFamily="34" charset="0"/>
              <a:cs typeface="Segoe UI" pitchFamily="34" charset="0"/>
            </a:endParaRPr>
          </a:p>
        </p:txBody>
      </p:sp>
      <p:sp>
        <p:nvSpPr>
          <p:cNvPr id="24" name="Rectangle 23" descr="Vaccines&#10;">
            <a:extLst>
              <a:ext uri="{FF2B5EF4-FFF2-40B4-BE49-F238E27FC236}">
                <a16:creationId xmlns:a16="http://schemas.microsoft.com/office/drawing/2014/main" id="{C46BC8C3-EC99-48A4-A928-705EE23A5932}"/>
              </a:ext>
            </a:extLst>
          </p:cNvPr>
          <p:cNvSpPr/>
          <p:nvPr/>
        </p:nvSpPr>
        <p:spPr bwMode="auto">
          <a:xfrm>
            <a:off x="8040624" y="4147630"/>
            <a:ext cx="3566160" cy="2121408"/>
          </a:xfrm>
          <a:prstGeom prst="rect">
            <a:avLst/>
          </a:prstGeom>
          <a:blipFill>
            <a:blip r:embed="rId8"/>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32472" fontAlgn="base">
              <a:spcBef>
                <a:spcPct val="0"/>
              </a:spcBef>
              <a:spcAft>
                <a:spcPct val="0"/>
              </a:spcAft>
            </a:pPr>
            <a:r>
              <a:rPr lang="en-US" sz="2000" b="1">
                <a:solidFill>
                  <a:srgbClr val="FFFFFF"/>
                </a:solidFill>
                <a:ea typeface="Segoe UI" pitchFamily="34" charset="0"/>
                <a:cs typeface="Segoe UI" pitchFamily="34" charset="0"/>
              </a:rPr>
              <a:t>9.1% of the nursing workforce is male</a:t>
            </a:r>
          </a:p>
        </p:txBody>
      </p:sp>
      <p:sp>
        <p:nvSpPr>
          <p:cNvPr id="10" name="TextBox 9">
            <a:extLst>
              <a:ext uri="{FF2B5EF4-FFF2-40B4-BE49-F238E27FC236}">
                <a16:creationId xmlns:a16="http://schemas.microsoft.com/office/drawing/2014/main" id="{75A7D829-31ED-409E-BBE5-F3F90B725159}"/>
              </a:ext>
            </a:extLst>
          </p:cNvPr>
          <p:cNvSpPr txBox="1"/>
          <p:nvPr/>
        </p:nvSpPr>
        <p:spPr>
          <a:xfrm>
            <a:off x="904702" y="6269038"/>
            <a:ext cx="11194934" cy="461665"/>
          </a:xfrm>
          <a:prstGeom prst="rect">
            <a:avLst/>
          </a:prstGeom>
          <a:noFill/>
        </p:spPr>
        <p:txBody>
          <a:bodyPr wrap="square">
            <a:spAutoFit/>
          </a:bodyPr>
          <a:lstStyle/>
          <a:p>
            <a:r>
              <a:rPr lang="en-US" sz="1200">
                <a:ea typeface="+mn-lt"/>
                <a:cs typeface="+mn-lt"/>
                <a:hlinkClick r:id="rId9"/>
              </a:rPr>
              <a:t>https://www.aacnnursing.org/news-information/fact-sheets/nursing-shortage</a:t>
            </a:r>
            <a:endParaRPr lang="en-US" sz="1050"/>
          </a:p>
          <a:p>
            <a:r>
              <a:rPr lang="en-US" sz="1200">
                <a:ea typeface="+mn-lt"/>
                <a:cs typeface="+mn-lt"/>
                <a:hlinkClick r:id="rId10"/>
              </a:rPr>
              <a:t>https://www.aacnnursing.org/Portals/42/News/Factsheets/Enhancing-Diversity-Factsheet.pdf</a:t>
            </a:r>
            <a:r>
              <a:rPr lang="en-US" sz="1200">
                <a:ea typeface="+mn-lt"/>
                <a:cs typeface="+mn-lt"/>
              </a:rPr>
              <a:t> </a:t>
            </a:r>
            <a:endParaRPr lang="en-US" sz="1050"/>
          </a:p>
        </p:txBody>
      </p:sp>
      <p:sp>
        <p:nvSpPr>
          <p:cNvPr id="5" name="TextBox 4">
            <a:extLst>
              <a:ext uri="{FF2B5EF4-FFF2-40B4-BE49-F238E27FC236}">
                <a16:creationId xmlns:a16="http://schemas.microsoft.com/office/drawing/2014/main" id="{516445FC-A5A0-4C43-A7F1-08919D615FDA}"/>
              </a:ext>
            </a:extLst>
          </p:cNvPr>
          <p:cNvSpPr txBox="1"/>
          <p:nvPr/>
        </p:nvSpPr>
        <p:spPr>
          <a:xfrm>
            <a:off x="4148033" y="6728822"/>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Tree>
    <p:extLst>
      <p:ext uri="{BB962C8B-B14F-4D97-AF65-F5344CB8AC3E}">
        <p14:creationId xmlns:p14="http://schemas.microsoft.com/office/powerpoint/2010/main" val="2576318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35" presetClass="path" presetSubtype="0" decel="100000" fill="hold" grpId="1" nodeType="withEffect">
                                  <p:stCondLst>
                                    <p:cond delay="200"/>
                                  </p:stCondLst>
                                  <p:childTnLst>
                                    <p:animMotion origin="layout" path="M 1.38778E-17 -3.7037E-6 L 1.38778E-17 -0.02546 " pathEditMode="relative" rAng="0" ptsTypes="AA">
                                      <p:cBhvr>
                                        <p:cTn id="9" dur="500" spd="-100000" fill="hold"/>
                                        <p:tgtEl>
                                          <p:spTgt spid="2"/>
                                        </p:tgtEl>
                                        <p:attrNameLst>
                                          <p:attrName>ppt_x</p:attrName>
                                          <p:attrName>ppt_y</p:attrName>
                                        </p:attrNameLst>
                                      </p:cBhvr>
                                      <p:rCtr x="0" y="-1273"/>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35" presetClass="path" presetSubtype="0" decel="100000" fill="hold" grpId="1" nodeType="withEffect">
                                  <p:stCondLst>
                                    <p:cond delay="400"/>
                                  </p:stCondLst>
                                  <p:childTnLst>
                                    <p:animMotion origin="layout" path="M 1.38778E-17 -1.48148E-6 L -0.01536 -1.48148E-6 " pathEditMode="relative" rAng="0" ptsTypes="AA">
                                      <p:cBhvr>
                                        <p:cTn id="14" dur="500" spd="-100000" fill="hold"/>
                                        <p:tgtEl>
                                          <p:spTgt spid="19"/>
                                        </p:tgtEl>
                                        <p:attrNameLst>
                                          <p:attrName>ppt_x</p:attrName>
                                          <p:attrName>ppt_y</p:attrName>
                                        </p:attrNameLst>
                                      </p:cBhvr>
                                      <p:rCtr x="-768" y="0"/>
                                    </p:animMotion>
                                  </p:childTnLst>
                                </p:cTn>
                              </p:par>
                              <p:par>
                                <p:cTn id="15" presetID="10" presetClass="entr" presetSubtype="0" fill="hold" grpId="0" nodeType="withEffect">
                                  <p:stCondLst>
                                    <p:cond delay="6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35" presetClass="path" presetSubtype="0" decel="100000" fill="hold" grpId="1" nodeType="withEffect">
                                  <p:stCondLst>
                                    <p:cond delay="600"/>
                                  </p:stCondLst>
                                  <p:childTnLst>
                                    <p:animMotion origin="layout" path="M 1.38778E-17 -1.48148E-6 L -0.01536 -1.48148E-6 " pathEditMode="relative" rAng="0" ptsTypes="AA">
                                      <p:cBhvr>
                                        <p:cTn id="19" dur="500" spd="-100000" fill="hold"/>
                                        <p:tgtEl>
                                          <p:spTgt spid="20"/>
                                        </p:tgtEl>
                                        <p:attrNameLst>
                                          <p:attrName>ppt_x</p:attrName>
                                          <p:attrName>ppt_y</p:attrName>
                                        </p:attrNameLst>
                                      </p:cBhvr>
                                      <p:rCtr x="-768" y="0"/>
                                    </p:animMotion>
                                  </p:childTnLst>
                                </p:cTn>
                              </p:par>
                              <p:par>
                                <p:cTn id="20" presetID="10" presetClass="entr" presetSubtype="0" fill="hold" grpId="0" nodeType="withEffect">
                                  <p:stCondLst>
                                    <p:cond delay="8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35" presetClass="path" presetSubtype="0" decel="100000" fill="hold" grpId="1" nodeType="withEffect">
                                  <p:stCondLst>
                                    <p:cond delay="800"/>
                                  </p:stCondLst>
                                  <p:childTnLst>
                                    <p:animMotion origin="layout" path="M 1.38778E-17 -1.48148E-6 L -0.01536 -1.48148E-6 " pathEditMode="relative" rAng="0" ptsTypes="AA">
                                      <p:cBhvr>
                                        <p:cTn id="24" dur="500" spd="-100000" fill="hold"/>
                                        <p:tgtEl>
                                          <p:spTgt spid="21"/>
                                        </p:tgtEl>
                                        <p:attrNameLst>
                                          <p:attrName>ppt_x</p:attrName>
                                          <p:attrName>ppt_y</p:attrName>
                                        </p:attrNameLst>
                                      </p:cBhvr>
                                      <p:rCtr x="-768" y="0"/>
                                    </p:animMotion>
                                  </p:childTnLst>
                                </p:cTn>
                              </p:par>
                              <p:par>
                                <p:cTn id="25" presetID="10" presetClass="entr" presetSubtype="0" fill="hold" grpId="0" nodeType="withEffect">
                                  <p:stCondLst>
                                    <p:cond delay="10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35" presetClass="path" presetSubtype="0" decel="100000" fill="hold" grpId="1" nodeType="withEffect">
                                  <p:stCondLst>
                                    <p:cond delay="1000"/>
                                  </p:stCondLst>
                                  <p:childTnLst>
                                    <p:animMotion origin="layout" path="M 2.77556E-17 -1.48148E-6 L 0.01471 -1.48148E-6 " pathEditMode="relative" rAng="0" ptsTypes="AA">
                                      <p:cBhvr>
                                        <p:cTn id="29" dur="500" spd="-100000" fill="hold"/>
                                        <p:tgtEl>
                                          <p:spTgt spid="22"/>
                                        </p:tgtEl>
                                        <p:attrNameLst>
                                          <p:attrName>ppt_x</p:attrName>
                                          <p:attrName>ppt_y</p:attrName>
                                        </p:attrNameLst>
                                      </p:cBhvr>
                                      <p:rCtr x="729" y="0"/>
                                    </p:animMotion>
                                  </p:childTnLst>
                                </p:cTn>
                              </p:par>
                              <p:par>
                                <p:cTn id="30" presetID="10" presetClass="entr" presetSubtype="0" fill="hold" grpId="0" nodeType="withEffect">
                                  <p:stCondLst>
                                    <p:cond delay="12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35" presetClass="path" presetSubtype="0" decel="100000" fill="hold" grpId="1" nodeType="withEffect">
                                  <p:stCondLst>
                                    <p:cond delay="1200"/>
                                  </p:stCondLst>
                                  <p:childTnLst>
                                    <p:animMotion origin="layout" path="M 2.77556E-17 -1.48148E-6 L 0.01471 -1.48148E-6 " pathEditMode="relative" rAng="0" ptsTypes="AA">
                                      <p:cBhvr>
                                        <p:cTn id="34" dur="500" spd="-100000" fill="hold"/>
                                        <p:tgtEl>
                                          <p:spTgt spid="23"/>
                                        </p:tgtEl>
                                        <p:attrNameLst>
                                          <p:attrName>ppt_x</p:attrName>
                                          <p:attrName>ppt_y</p:attrName>
                                        </p:attrNameLst>
                                      </p:cBhvr>
                                      <p:rCtr x="729" y="0"/>
                                    </p:animMotion>
                                  </p:childTnLst>
                                </p:cTn>
                              </p:par>
                              <p:par>
                                <p:cTn id="35" presetID="10" presetClass="entr" presetSubtype="0" fill="hold" grpId="0" nodeType="withEffect">
                                  <p:stCondLst>
                                    <p:cond delay="14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35" presetClass="path" presetSubtype="0" decel="100000" fill="hold" grpId="1" nodeType="withEffect">
                                  <p:stCondLst>
                                    <p:cond delay="1400"/>
                                  </p:stCondLst>
                                  <p:childTnLst>
                                    <p:animMotion origin="layout" path="M 2.77556E-17 -1.48148E-6 L 0.01471 -1.48148E-6 " pathEditMode="relative" rAng="0" ptsTypes="AA">
                                      <p:cBhvr>
                                        <p:cTn id="39" dur="500" spd="-100000" fill="hold"/>
                                        <p:tgtEl>
                                          <p:spTgt spid="24"/>
                                        </p:tgtEl>
                                        <p:attrNameLst>
                                          <p:attrName>ppt_x</p:attrName>
                                          <p:attrName>ppt_y</p:attrName>
                                        </p:attrNameLst>
                                      </p:cBhvr>
                                      <p:rCtr x="7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9" grpId="0" animBg="1"/>
      <p:bldP spid="19"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BE48A-F26F-495A-954C-A658970B570A}"/>
              </a:ext>
            </a:extLst>
          </p:cNvPr>
          <p:cNvSpPr>
            <a:spLocks noGrp="1"/>
          </p:cNvSpPr>
          <p:nvPr>
            <p:ph type="title"/>
          </p:nvPr>
        </p:nvSpPr>
        <p:spPr>
          <a:xfrm>
            <a:off x="455994" y="211535"/>
            <a:ext cx="11308969" cy="553998"/>
          </a:xfrm>
        </p:spPr>
        <p:txBody>
          <a:bodyPr/>
          <a:lstStyle/>
          <a:p>
            <a:r>
              <a:rPr lang="en-US"/>
              <a:t>Nickel Wallace </a:t>
            </a:r>
          </a:p>
        </p:txBody>
      </p:sp>
      <p:sp>
        <p:nvSpPr>
          <p:cNvPr id="3" name="Content Placeholder 2">
            <a:extLst>
              <a:ext uri="{FF2B5EF4-FFF2-40B4-BE49-F238E27FC236}">
                <a16:creationId xmlns:a16="http://schemas.microsoft.com/office/drawing/2014/main" id="{0E52D857-DF2C-4601-A9CA-FD12E9EEE7BA}"/>
              </a:ext>
            </a:extLst>
          </p:cNvPr>
          <p:cNvSpPr>
            <a:spLocks noGrp="1"/>
          </p:cNvSpPr>
          <p:nvPr>
            <p:ph idx="1"/>
          </p:nvPr>
        </p:nvSpPr>
        <p:spPr>
          <a:xfrm>
            <a:off x="444870" y="738523"/>
            <a:ext cx="11308969" cy="4838248"/>
          </a:xfrm>
        </p:spPr>
        <p:txBody>
          <a:bodyPr vert="horz" wrap="square" lIns="0" tIns="91440" rIns="146304" bIns="91440" rtlCol="0" anchor="t">
            <a:spAutoFit/>
          </a:bodyPr>
          <a:lstStyle/>
          <a:p>
            <a:pPr marL="342900" indent="-342900">
              <a:buFont typeface="Arial" panose="05000000000000000000" pitchFamily="2" charset="2"/>
              <a:buChar char="•"/>
            </a:pPr>
            <a:r>
              <a:rPr lang="en-US" sz="1800">
                <a:cs typeface="Segoe UI Semibold"/>
              </a:rPr>
              <a:t>Teenage male (16)</a:t>
            </a:r>
          </a:p>
          <a:p>
            <a:pPr marL="342900" indent="-342900">
              <a:buFont typeface="Arial" panose="05000000000000000000" pitchFamily="2" charset="2"/>
              <a:buChar char="•"/>
            </a:pPr>
            <a:r>
              <a:rPr lang="en-US" sz="1800">
                <a:cs typeface="Segoe UI Semibold"/>
              </a:rPr>
              <a:t>Junior in high school in Stockbridge, GA-30 miles outside of Atlanta</a:t>
            </a:r>
          </a:p>
          <a:p>
            <a:pPr marL="342900" indent="-342900">
              <a:buFont typeface="Arial" panose="05000000000000000000" pitchFamily="2" charset="2"/>
              <a:buChar char="•"/>
            </a:pPr>
            <a:r>
              <a:rPr lang="en-US" sz="1800">
                <a:cs typeface="Segoe UI Semibold"/>
              </a:rPr>
              <a:t>Honors student with a 3.7 GPA with aspirations to be a Biomedical Engineer </a:t>
            </a:r>
          </a:p>
          <a:p>
            <a:pPr marL="342900" indent="-342900">
              <a:buFont typeface="Arial" panose="05000000000000000000" pitchFamily="2" charset="2"/>
              <a:buChar char="•"/>
            </a:pPr>
            <a:r>
              <a:rPr lang="en-US" sz="1800">
                <a:cs typeface="Segoe UI Semibold"/>
              </a:rPr>
              <a:t>Enjoyed reading Stephen King, playing chess with his mother and watching the Big Bang Theory and over the weekends has a podcast with his siblings " The Family That Stay Together"</a:t>
            </a:r>
          </a:p>
          <a:p>
            <a:pPr marL="342900" indent="-342900">
              <a:buFont typeface="Arial" panose="05000000000000000000" pitchFamily="2" charset="2"/>
              <a:buChar char="•"/>
            </a:pPr>
            <a:r>
              <a:rPr lang="en-US" sz="1800">
                <a:cs typeface="Segoe UI Semibold"/>
              </a:rPr>
              <a:t>Two parent household, the eldest of five siblings (3 brothers, 2 sisters) mother and father strong family values</a:t>
            </a:r>
          </a:p>
          <a:p>
            <a:pPr marL="342900" indent="-342900">
              <a:buFont typeface="Arial" panose="05000000000000000000" pitchFamily="2" charset="2"/>
              <a:buChar char="•"/>
            </a:pPr>
            <a:r>
              <a:rPr lang="en-US" sz="1800">
                <a:cs typeface="Segoe UI Semibold"/>
              </a:rPr>
              <a:t>Early May 2020-Mother contracts COVID</a:t>
            </a:r>
            <a:endParaRPr lang="en-US" sz="1800">
              <a:solidFill>
                <a:srgbClr val="FF0000"/>
              </a:solidFill>
              <a:cs typeface="Segoe UI Semibold"/>
            </a:endParaRPr>
          </a:p>
          <a:p>
            <a:pPr marL="342900" indent="-342900">
              <a:buFont typeface="Arial" panose="05000000000000000000" pitchFamily="2" charset="2"/>
              <a:buChar char="•"/>
            </a:pPr>
            <a:r>
              <a:rPr lang="en-US" sz="1800">
                <a:cs typeface="Segoe UI Semibold"/>
              </a:rPr>
              <a:t>Within a few days his mother is in critical conditional, but the hospital would not allow any family members to visit</a:t>
            </a:r>
            <a:endParaRPr lang="en-US" sz="1800"/>
          </a:p>
          <a:p>
            <a:pPr marL="342900" indent="-342900">
              <a:buFont typeface="Arial" panose="05000000000000000000" pitchFamily="2" charset="2"/>
              <a:buChar char="•"/>
            </a:pPr>
            <a:r>
              <a:rPr lang="en-US" sz="1800">
                <a:cs typeface="Segoe UI Semibold"/>
              </a:rPr>
              <a:t>The following days, the Critical Care R.N. a female, face times his family in order to see his mother and provide update on her condition. </a:t>
            </a:r>
          </a:p>
          <a:p>
            <a:pPr marL="342900" indent="-342900">
              <a:buFont typeface="Arial" panose="05000000000000000000" pitchFamily="2" charset="2"/>
              <a:buChar char="•"/>
            </a:pPr>
            <a:r>
              <a:rPr lang="en-US" sz="1800">
                <a:cs typeface="Segoe UI Semibold"/>
              </a:rPr>
              <a:t>Late May 2020-Facetime call, he sees his mother pass away with the only person at her side being the nurse. </a:t>
            </a:r>
          </a:p>
          <a:p>
            <a:pPr marL="0" indent="0">
              <a:buNone/>
            </a:pPr>
            <a:endParaRPr lang="en-US" sz="1800">
              <a:cs typeface="Segoe UI Semibold"/>
            </a:endParaRPr>
          </a:p>
        </p:txBody>
      </p:sp>
      <p:sp>
        <p:nvSpPr>
          <p:cNvPr id="6" name="TextBox 5">
            <a:extLst>
              <a:ext uri="{FF2B5EF4-FFF2-40B4-BE49-F238E27FC236}">
                <a16:creationId xmlns:a16="http://schemas.microsoft.com/office/drawing/2014/main" id="{A8DE04E0-DA8F-4508-AB53-FB5BF7C6A1F4}"/>
              </a:ext>
            </a:extLst>
          </p:cNvPr>
          <p:cNvSpPr txBox="1"/>
          <p:nvPr/>
        </p:nvSpPr>
        <p:spPr>
          <a:xfrm>
            <a:off x="4148033" y="6728822"/>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
        <p:nvSpPr>
          <p:cNvPr id="10" name="TextBox 9">
            <a:extLst>
              <a:ext uri="{FF2B5EF4-FFF2-40B4-BE49-F238E27FC236}">
                <a16:creationId xmlns:a16="http://schemas.microsoft.com/office/drawing/2014/main" id="{97DAF8BB-D6EF-48B7-8EE8-87D89ECC20A7}"/>
              </a:ext>
            </a:extLst>
          </p:cNvPr>
          <p:cNvSpPr txBox="1"/>
          <p:nvPr/>
        </p:nvSpPr>
        <p:spPr>
          <a:xfrm>
            <a:off x="109989" y="6667639"/>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Tree>
    <p:extLst>
      <p:ext uri="{BB962C8B-B14F-4D97-AF65-F5344CB8AC3E}">
        <p14:creationId xmlns:p14="http://schemas.microsoft.com/office/powerpoint/2010/main" val="777911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BB1A2B-06A9-48F5-912E-AC727DDA818C}"/>
              </a:ext>
            </a:extLst>
          </p:cNvPr>
          <p:cNvSpPr>
            <a:spLocks noGrp="1"/>
          </p:cNvSpPr>
          <p:nvPr>
            <p:ph type="body" sz="quarter" idx="10"/>
          </p:nvPr>
        </p:nvSpPr>
        <p:spPr/>
        <p:txBody>
          <a:bodyPr/>
          <a:lstStyle/>
          <a:p>
            <a:r>
              <a:rPr lang="en-US"/>
              <a:t>Nickel’s Experience</a:t>
            </a:r>
          </a:p>
        </p:txBody>
      </p:sp>
      <p:pic>
        <p:nvPicPr>
          <p:cNvPr id="4" name="Picture 3">
            <a:extLst>
              <a:ext uri="{FF2B5EF4-FFF2-40B4-BE49-F238E27FC236}">
                <a16:creationId xmlns:a16="http://schemas.microsoft.com/office/drawing/2014/main" id="{C9474C13-DD3B-4BFC-BE72-8148C809E5DD}"/>
              </a:ext>
            </a:extLst>
          </p:cNvPr>
          <p:cNvPicPr>
            <a:picLocks noChangeAspect="1"/>
          </p:cNvPicPr>
          <p:nvPr/>
        </p:nvPicPr>
        <p:blipFill>
          <a:blip r:embed="rId2"/>
          <a:stretch>
            <a:fillRect/>
          </a:stretch>
        </p:blipFill>
        <p:spPr>
          <a:xfrm>
            <a:off x="8280624" y="75839"/>
            <a:ext cx="3098573" cy="2084292"/>
          </a:xfrm>
          <a:prstGeom prst="rect">
            <a:avLst/>
          </a:prstGeom>
        </p:spPr>
      </p:pic>
      <p:grpSp>
        <p:nvGrpSpPr>
          <p:cNvPr id="16" name="Group 15">
            <a:extLst>
              <a:ext uri="{FF2B5EF4-FFF2-40B4-BE49-F238E27FC236}">
                <a16:creationId xmlns:a16="http://schemas.microsoft.com/office/drawing/2014/main" id="{80D5A006-92A3-4F15-89D6-C378B36F1AB7}"/>
              </a:ext>
            </a:extLst>
          </p:cNvPr>
          <p:cNvGrpSpPr/>
          <p:nvPr/>
        </p:nvGrpSpPr>
        <p:grpSpPr>
          <a:xfrm>
            <a:off x="356847" y="894396"/>
            <a:ext cx="3083066" cy="2121427"/>
            <a:chOff x="356847" y="894396"/>
            <a:chExt cx="3083066" cy="2121427"/>
          </a:xfrm>
        </p:grpSpPr>
        <p:pic>
          <p:nvPicPr>
            <p:cNvPr id="4098" name="Picture 2" descr="See the source image">
              <a:extLst>
                <a:ext uri="{FF2B5EF4-FFF2-40B4-BE49-F238E27FC236}">
                  <a16:creationId xmlns:a16="http://schemas.microsoft.com/office/drawing/2014/main" id="{6932AEDD-3EEC-4851-A4BE-43C02358E2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847" y="894396"/>
              <a:ext cx="3083066" cy="205953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834B0C1-86E4-421C-9EA5-3679BAB2B597}"/>
                </a:ext>
              </a:extLst>
            </p:cNvPr>
            <p:cNvSpPr txBox="1"/>
            <p:nvPr/>
          </p:nvSpPr>
          <p:spPr>
            <a:xfrm>
              <a:off x="687914" y="2370652"/>
              <a:ext cx="2454942" cy="645171"/>
            </a:xfrm>
            <a:prstGeom prst="rect">
              <a:avLst/>
            </a:prstGeom>
            <a:noFill/>
          </p:spPr>
          <p:txBody>
            <a:bodyPr wrap="none" lIns="182880" tIns="146304" rIns="182880" bIns="146304" rtlCol="0">
              <a:spAutoFit/>
            </a:bodyPr>
            <a:lstStyle/>
            <a:p>
              <a:pPr>
                <a:lnSpc>
                  <a:spcPct val="90000"/>
                </a:lnSpc>
                <a:spcAft>
                  <a:spcPts val="600"/>
                </a:spcAft>
              </a:pPr>
              <a:r>
                <a:rPr lang="en-US" sz="2400" b="1" err="1">
                  <a:solidFill>
                    <a:schemeClr val="bg1"/>
                  </a:solidFill>
                </a:rPr>
                <a:t>NERDSMobile</a:t>
              </a:r>
              <a:endParaRPr lang="en-US" sz="2400" b="1">
                <a:solidFill>
                  <a:schemeClr val="bg1"/>
                </a:solidFill>
              </a:endParaRPr>
            </a:p>
          </p:txBody>
        </p:sp>
      </p:grpSp>
      <p:pic>
        <p:nvPicPr>
          <p:cNvPr id="6" name="Picture 6">
            <a:extLst>
              <a:ext uri="{FF2B5EF4-FFF2-40B4-BE49-F238E27FC236}">
                <a16:creationId xmlns:a16="http://schemas.microsoft.com/office/drawing/2014/main" id="{4E7FC100-BDD9-4D5B-85A8-9A68D4DB9525}"/>
              </a:ext>
            </a:extLst>
          </p:cNvPr>
          <p:cNvPicPr>
            <a:picLocks noChangeAspect="1"/>
          </p:cNvPicPr>
          <p:nvPr/>
        </p:nvPicPr>
        <p:blipFill>
          <a:blip r:embed="rId4"/>
          <a:stretch>
            <a:fillRect/>
          </a:stretch>
        </p:blipFill>
        <p:spPr>
          <a:xfrm>
            <a:off x="4921061" y="4740373"/>
            <a:ext cx="3004616" cy="1661548"/>
          </a:xfrm>
          <a:prstGeom prst="rect">
            <a:avLst/>
          </a:prstGeom>
        </p:spPr>
      </p:pic>
      <p:pic>
        <p:nvPicPr>
          <p:cNvPr id="8" name="Picture 8" descr="A picture containing text, person, indoor, room&#10;&#10;Description automatically generated">
            <a:extLst>
              <a:ext uri="{FF2B5EF4-FFF2-40B4-BE49-F238E27FC236}">
                <a16:creationId xmlns:a16="http://schemas.microsoft.com/office/drawing/2014/main" id="{3715F255-E615-45B7-9E8D-82F7E339CD81}"/>
              </a:ext>
            </a:extLst>
          </p:cNvPr>
          <p:cNvPicPr>
            <a:picLocks noChangeAspect="1"/>
          </p:cNvPicPr>
          <p:nvPr/>
        </p:nvPicPr>
        <p:blipFill>
          <a:blip r:embed="rId5"/>
          <a:stretch>
            <a:fillRect/>
          </a:stretch>
        </p:blipFill>
        <p:spPr>
          <a:xfrm>
            <a:off x="8286934" y="4566895"/>
            <a:ext cx="3256530" cy="1847530"/>
          </a:xfrm>
          <a:prstGeom prst="rect">
            <a:avLst/>
          </a:prstGeom>
        </p:spPr>
      </p:pic>
      <p:pic>
        <p:nvPicPr>
          <p:cNvPr id="15" name="Picture 14">
            <a:extLst>
              <a:ext uri="{FF2B5EF4-FFF2-40B4-BE49-F238E27FC236}">
                <a16:creationId xmlns:a16="http://schemas.microsoft.com/office/drawing/2014/main" id="{59E714CD-D174-41EF-8059-3F820D64564E}"/>
              </a:ext>
            </a:extLst>
          </p:cNvPr>
          <p:cNvPicPr>
            <a:picLocks noChangeAspect="1"/>
          </p:cNvPicPr>
          <p:nvPr/>
        </p:nvPicPr>
        <p:blipFill>
          <a:blip r:embed="rId6"/>
          <a:stretch>
            <a:fillRect/>
          </a:stretch>
        </p:blipFill>
        <p:spPr>
          <a:xfrm>
            <a:off x="4445719" y="2323745"/>
            <a:ext cx="2831709" cy="2079536"/>
          </a:xfrm>
          <a:prstGeom prst="rect">
            <a:avLst/>
          </a:prstGeom>
        </p:spPr>
      </p:pic>
      <p:cxnSp>
        <p:nvCxnSpPr>
          <p:cNvPr id="17" name="Straight Arrow Connector 16">
            <a:extLst>
              <a:ext uri="{FF2B5EF4-FFF2-40B4-BE49-F238E27FC236}">
                <a16:creationId xmlns:a16="http://schemas.microsoft.com/office/drawing/2014/main" id="{183D48DF-14B3-418A-83F1-C268715E75F4}"/>
              </a:ext>
            </a:extLst>
          </p:cNvPr>
          <p:cNvCxnSpPr>
            <a:stCxn id="4098" idx="3"/>
            <a:endCxn id="15" idx="1"/>
          </p:cNvCxnSpPr>
          <p:nvPr/>
        </p:nvCxnSpPr>
        <p:spPr>
          <a:xfrm>
            <a:off x="3439913" y="1924165"/>
            <a:ext cx="1005806" cy="1439348"/>
          </a:xfrm>
          <a:prstGeom prst="straightConnector1">
            <a:avLst/>
          </a:prstGeom>
          <a:ln w="34925">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65A6586-AD07-4F92-A3A2-915D4711CF2A}"/>
              </a:ext>
            </a:extLst>
          </p:cNvPr>
          <p:cNvCxnSpPr>
            <a:cxnSpLocks/>
            <a:stCxn id="10242" idx="3"/>
            <a:endCxn id="15" idx="1"/>
          </p:cNvCxnSpPr>
          <p:nvPr/>
        </p:nvCxnSpPr>
        <p:spPr>
          <a:xfrm flipV="1">
            <a:off x="3473923" y="3363513"/>
            <a:ext cx="971796" cy="1318430"/>
          </a:xfrm>
          <a:prstGeom prst="straightConnector1">
            <a:avLst/>
          </a:prstGeom>
          <a:ln w="34925">
            <a:headEnd type="none"/>
            <a:tailEnd type="triangle"/>
          </a:ln>
        </p:spPr>
        <p:style>
          <a:lnRef idx="1">
            <a:schemeClr val="accent1"/>
          </a:lnRef>
          <a:fillRef idx="0">
            <a:schemeClr val="accent1"/>
          </a:fillRef>
          <a:effectRef idx="0">
            <a:schemeClr val="accent1"/>
          </a:effectRef>
          <a:fontRef idx="minor">
            <a:schemeClr val="tx1"/>
          </a:fontRef>
        </p:style>
      </p:cxnSp>
      <p:pic>
        <p:nvPicPr>
          <p:cNvPr id="8194" name="Picture 2" descr="See the source image">
            <a:extLst>
              <a:ext uri="{FF2B5EF4-FFF2-40B4-BE49-F238E27FC236}">
                <a16:creationId xmlns:a16="http://schemas.microsoft.com/office/drawing/2014/main" id="{7DD8C698-19E4-44C7-A8DF-30A5FACFF1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80624" y="2439748"/>
            <a:ext cx="3262840" cy="1847530"/>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See the source image">
            <a:extLst>
              <a:ext uri="{FF2B5EF4-FFF2-40B4-BE49-F238E27FC236}">
                <a16:creationId xmlns:a16="http://schemas.microsoft.com/office/drawing/2014/main" id="{17966CCF-7DC7-4429-98AB-3297BDC05BF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21061" y="464939"/>
            <a:ext cx="2607724" cy="1661548"/>
          </a:xfrm>
          <a:prstGeom prst="rect">
            <a:avLst/>
          </a:prstGeom>
          <a:noFill/>
          <a:extLst>
            <a:ext uri="{909E8E84-426E-40DD-AFC4-6F175D3DCCD1}">
              <a14:hiddenFill xmlns:a14="http://schemas.microsoft.com/office/drawing/2010/main">
                <a:solidFill>
                  <a:srgbClr val="FFFFFF"/>
                </a:solidFill>
              </a14:hiddenFill>
            </a:ext>
          </a:extLst>
        </p:spPr>
      </p:pic>
      <p:sp>
        <p:nvSpPr>
          <p:cNvPr id="5" name="Arrow: Curved Down 4">
            <a:extLst>
              <a:ext uri="{FF2B5EF4-FFF2-40B4-BE49-F238E27FC236}">
                <a16:creationId xmlns:a16="http://schemas.microsoft.com/office/drawing/2014/main" id="{A0CB25EA-E763-4BFD-B9EA-D2E2DE0D8A93}"/>
              </a:ext>
            </a:extLst>
          </p:cNvPr>
          <p:cNvSpPr/>
          <p:nvPr/>
        </p:nvSpPr>
        <p:spPr bwMode="auto">
          <a:xfrm>
            <a:off x="5874324" y="476215"/>
            <a:ext cx="4747491" cy="1847530"/>
          </a:xfrm>
          <a:prstGeom prst="curvedDownArrow">
            <a:avLst/>
          </a:pr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Arrow: Curved Up 6">
            <a:extLst>
              <a:ext uri="{FF2B5EF4-FFF2-40B4-BE49-F238E27FC236}">
                <a16:creationId xmlns:a16="http://schemas.microsoft.com/office/drawing/2014/main" id="{21051834-428C-429D-91BA-A3BC44A9CDBE}"/>
              </a:ext>
            </a:extLst>
          </p:cNvPr>
          <p:cNvSpPr/>
          <p:nvPr/>
        </p:nvSpPr>
        <p:spPr bwMode="auto">
          <a:xfrm>
            <a:off x="5874323" y="4403281"/>
            <a:ext cx="4747491" cy="1577246"/>
          </a:xfrm>
          <a:prstGeom prst="curvedUpArrow">
            <a:avLst/>
          </a:pr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a:extLst>
              <a:ext uri="{FF2B5EF4-FFF2-40B4-BE49-F238E27FC236}">
                <a16:creationId xmlns:a16="http://schemas.microsoft.com/office/drawing/2014/main" id="{08541106-AF50-42D3-8EBD-2459B89CDC71}"/>
              </a:ext>
            </a:extLst>
          </p:cNvPr>
          <p:cNvGrpSpPr/>
          <p:nvPr/>
        </p:nvGrpSpPr>
        <p:grpSpPr>
          <a:xfrm>
            <a:off x="356847" y="3642175"/>
            <a:ext cx="3117076" cy="2079535"/>
            <a:chOff x="356847" y="3863611"/>
            <a:chExt cx="3117076" cy="2079535"/>
          </a:xfrm>
        </p:grpSpPr>
        <p:pic>
          <p:nvPicPr>
            <p:cNvPr id="10242" name="Picture 2" descr="See the source image">
              <a:extLst>
                <a:ext uri="{FF2B5EF4-FFF2-40B4-BE49-F238E27FC236}">
                  <a16:creationId xmlns:a16="http://schemas.microsoft.com/office/drawing/2014/main" id="{A0C475CC-2330-408F-B443-78D20E7E785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6847" y="3863611"/>
              <a:ext cx="3117076" cy="207953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F8D41F7-4D0E-409F-9CF6-F4FA8C9DEDEE}"/>
                </a:ext>
              </a:extLst>
            </p:cNvPr>
            <p:cNvSpPr txBox="1"/>
            <p:nvPr/>
          </p:nvSpPr>
          <p:spPr>
            <a:xfrm>
              <a:off x="898619" y="5315682"/>
              <a:ext cx="2033532" cy="627464"/>
            </a:xfrm>
            <a:prstGeom prst="rect">
              <a:avLst/>
            </a:prstGeom>
            <a:noFill/>
          </p:spPr>
          <p:txBody>
            <a:bodyPr wrap="none" lIns="182880" tIns="146304" rIns="182880" bIns="146304" rtlCol="0">
              <a:spAutoFit/>
            </a:bodyPr>
            <a:lstStyle/>
            <a:p>
              <a:pPr>
                <a:lnSpc>
                  <a:spcPct val="90000"/>
                </a:lnSpc>
                <a:spcAft>
                  <a:spcPts val="600"/>
                </a:spcAft>
              </a:pPr>
              <a:r>
                <a:rPr lang="en-US" sz="2400" b="1" err="1">
                  <a:solidFill>
                    <a:schemeClr val="bg1"/>
                  </a:solidFill>
                </a:rPr>
                <a:t>NERDSPod</a:t>
              </a:r>
              <a:endParaRPr lang="en-US" sz="2400" b="1">
                <a:solidFill>
                  <a:schemeClr val="bg1"/>
                </a:solidFill>
              </a:endParaRPr>
            </a:p>
          </p:txBody>
        </p:sp>
      </p:grpSp>
      <p:sp>
        <p:nvSpPr>
          <p:cNvPr id="9" name="TextBox 8">
            <a:extLst>
              <a:ext uri="{FF2B5EF4-FFF2-40B4-BE49-F238E27FC236}">
                <a16:creationId xmlns:a16="http://schemas.microsoft.com/office/drawing/2014/main" id="{37B5F270-13F7-44C7-B77E-34F90E62C125}"/>
              </a:ext>
            </a:extLst>
          </p:cNvPr>
          <p:cNvSpPr txBox="1"/>
          <p:nvPr/>
        </p:nvSpPr>
        <p:spPr>
          <a:xfrm>
            <a:off x="4148033" y="6728822"/>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Tree>
    <p:extLst>
      <p:ext uri="{BB962C8B-B14F-4D97-AF65-F5344CB8AC3E}">
        <p14:creationId xmlns:p14="http://schemas.microsoft.com/office/powerpoint/2010/main" val="252806164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06C9D1-43E5-40BA-8E24-A04CE0F5C64B}"/>
              </a:ext>
            </a:extLst>
          </p:cNvPr>
          <p:cNvSpPr>
            <a:spLocks noGrp="1"/>
          </p:cNvSpPr>
          <p:nvPr>
            <p:ph type="title"/>
          </p:nvPr>
        </p:nvSpPr>
        <p:spPr>
          <a:xfrm>
            <a:off x="588263" y="457200"/>
            <a:ext cx="11018520" cy="1107996"/>
          </a:xfrm>
        </p:spPr>
        <p:txBody>
          <a:bodyPr/>
          <a:lstStyle/>
          <a:p>
            <a:r>
              <a:rPr lang="en-US"/>
              <a:t>Capture middle and high school students in diverse communities with a compelling experience of nursing</a:t>
            </a:r>
          </a:p>
        </p:txBody>
      </p:sp>
      <p:pic>
        <p:nvPicPr>
          <p:cNvPr id="13" name="Picture Placeholder 12" descr="A picture containing person&#10;&#10;Description automatically generated">
            <a:extLst>
              <a:ext uri="{FF2B5EF4-FFF2-40B4-BE49-F238E27FC236}">
                <a16:creationId xmlns:a16="http://schemas.microsoft.com/office/drawing/2014/main" id="{E644D5FB-4C94-4D32-B017-03C9EF5523FB}"/>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8132" r="18132"/>
          <a:stretch>
            <a:fillRect/>
          </a:stretch>
        </p:blipFill>
        <p:spPr>
          <a:xfrm>
            <a:off x="582612" y="1711325"/>
            <a:ext cx="2532888" cy="2532888"/>
          </a:xfrm>
        </p:spPr>
      </p:pic>
      <p:pic>
        <p:nvPicPr>
          <p:cNvPr id="15" name="Picture Placeholder 14" descr="A group of men wearing virtual reality goggles&#10;&#10;Description automatically generated with low confidence">
            <a:extLst>
              <a:ext uri="{FF2B5EF4-FFF2-40B4-BE49-F238E27FC236}">
                <a16:creationId xmlns:a16="http://schemas.microsoft.com/office/drawing/2014/main" id="{7F442AEA-C4BF-48A1-AF5A-9569052F92F4}"/>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1720" r="21720"/>
          <a:stretch>
            <a:fillRect/>
          </a:stretch>
        </p:blipFill>
        <p:spPr>
          <a:xfrm>
            <a:off x="3413908" y="1711325"/>
            <a:ext cx="2532888" cy="2532888"/>
          </a:xfrm>
        </p:spPr>
      </p:pic>
      <p:pic>
        <p:nvPicPr>
          <p:cNvPr id="17" name="Picture Placeholder 16" descr="A picture containing text, person, indoor, room&#10;&#10;Description automatically generated">
            <a:extLst>
              <a:ext uri="{FF2B5EF4-FFF2-40B4-BE49-F238E27FC236}">
                <a16:creationId xmlns:a16="http://schemas.microsoft.com/office/drawing/2014/main" id="{7EC3F698-DD3C-4F5E-B6CE-5C493FB9BACD}"/>
              </a:ext>
            </a:extLst>
          </p:cNvPr>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l="21637" r="21637"/>
          <a:stretch>
            <a:fillRect/>
          </a:stretch>
        </p:blipFill>
        <p:spPr>
          <a:xfrm>
            <a:off x="6245204" y="1711325"/>
            <a:ext cx="2532888" cy="2532888"/>
          </a:xfrm>
        </p:spPr>
      </p:pic>
      <p:pic>
        <p:nvPicPr>
          <p:cNvPr id="19" name="Picture Placeholder 18" descr="A picture containing indoor, floor, wall, person&#10;&#10;Description automatically generated">
            <a:extLst>
              <a:ext uri="{FF2B5EF4-FFF2-40B4-BE49-F238E27FC236}">
                <a16:creationId xmlns:a16="http://schemas.microsoft.com/office/drawing/2014/main" id="{E2FFD974-9C20-48AB-8CCC-35DEF7406988}"/>
              </a:ext>
            </a:extLst>
          </p:cNvPr>
          <p:cNvPicPr>
            <a:picLocks noGrp="1" noChangeAspect="1"/>
          </p:cNvPicPr>
          <p:nvPr>
            <p:ph type="pic" sz="quarter" idx="19"/>
          </p:nvPr>
        </p:nvPicPr>
        <p:blipFill>
          <a:blip r:embed="rId5">
            <a:extLst>
              <a:ext uri="{28A0092B-C50C-407E-A947-70E740481C1C}">
                <a14:useLocalDpi xmlns:a14="http://schemas.microsoft.com/office/drawing/2010/main" val="0"/>
              </a:ext>
            </a:extLst>
          </a:blip>
          <a:srcRect l="16411" r="16411"/>
          <a:stretch>
            <a:fillRect/>
          </a:stretch>
        </p:blipFill>
        <p:spPr>
          <a:xfrm>
            <a:off x="9076500" y="1711325"/>
            <a:ext cx="2532888" cy="2532888"/>
          </a:xfrm>
        </p:spPr>
      </p:pic>
      <p:sp>
        <p:nvSpPr>
          <p:cNvPr id="20" name="Text Placeholder 2">
            <a:extLst>
              <a:ext uri="{FF2B5EF4-FFF2-40B4-BE49-F238E27FC236}">
                <a16:creationId xmlns:a16="http://schemas.microsoft.com/office/drawing/2014/main" id="{95190CF8-BAB2-476D-B152-D8D57F2A0D64}"/>
              </a:ext>
            </a:extLst>
          </p:cNvPr>
          <p:cNvSpPr>
            <a:spLocks noGrp="1"/>
          </p:cNvSpPr>
          <p:nvPr>
            <p:ph type="body" sz="quarter" idx="16"/>
          </p:nvPr>
        </p:nvSpPr>
        <p:spPr>
          <a:xfrm>
            <a:off x="582613" y="4372938"/>
            <a:ext cx="2532888" cy="2708434"/>
          </a:xfrm>
        </p:spPr>
        <p:txBody>
          <a:bodyPr/>
          <a:lstStyle/>
          <a:p>
            <a:r>
              <a:rPr lang="en-US" sz="1600"/>
              <a:t>Bring the experience to the students: </a:t>
            </a:r>
            <a:r>
              <a:rPr lang="en-US" sz="1600" err="1"/>
              <a:t>NERDSMobile</a:t>
            </a:r>
            <a:r>
              <a:rPr lang="en-US" sz="1600"/>
              <a:t>, school libraries, and local community center</a:t>
            </a:r>
          </a:p>
          <a:p>
            <a:endParaRPr lang="en-US" sz="1600"/>
          </a:p>
          <a:p>
            <a:r>
              <a:rPr lang="en-US" sz="1600"/>
              <a:t>Eliminates barriers to access to NERDS</a:t>
            </a:r>
          </a:p>
          <a:p>
            <a:endParaRPr lang="en-US" sz="1600"/>
          </a:p>
          <a:p>
            <a:r>
              <a:rPr lang="en-US" sz="1600">
                <a:cs typeface="Segoe UI"/>
              </a:rPr>
              <a:t>Zero cost to students or families</a:t>
            </a:r>
            <a:endParaRPr lang="en-US" sz="1600"/>
          </a:p>
          <a:p>
            <a:endParaRPr lang="en-US" sz="1600"/>
          </a:p>
        </p:txBody>
      </p:sp>
      <p:sp>
        <p:nvSpPr>
          <p:cNvPr id="21" name="Text Placeholder 4">
            <a:extLst>
              <a:ext uri="{FF2B5EF4-FFF2-40B4-BE49-F238E27FC236}">
                <a16:creationId xmlns:a16="http://schemas.microsoft.com/office/drawing/2014/main" id="{1D82C597-8FDF-4F96-AF15-F84BBF4E2A4B}"/>
              </a:ext>
            </a:extLst>
          </p:cNvPr>
          <p:cNvSpPr>
            <a:spLocks noGrp="1"/>
          </p:cNvSpPr>
          <p:nvPr>
            <p:ph type="body" sz="quarter" idx="17"/>
          </p:nvPr>
        </p:nvSpPr>
        <p:spPr>
          <a:xfrm>
            <a:off x="3413908" y="4372938"/>
            <a:ext cx="2532888" cy="1723549"/>
          </a:xfrm>
        </p:spPr>
        <p:txBody>
          <a:bodyPr/>
          <a:lstStyle/>
          <a:p>
            <a:r>
              <a:rPr lang="en-US" sz="1600">
                <a:cs typeface="Segoe UI"/>
              </a:rPr>
              <a:t>Initially funded through grants designed to enhance career development for Black, African American and Hispanic youth</a:t>
            </a:r>
          </a:p>
          <a:p>
            <a:endParaRPr lang="en-US" sz="1600"/>
          </a:p>
        </p:txBody>
      </p:sp>
      <p:sp>
        <p:nvSpPr>
          <p:cNvPr id="22" name="Text Placeholder 6">
            <a:extLst>
              <a:ext uri="{FF2B5EF4-FFF2-40B4-BE49-F238E27FC236}">
                <a16:creationId xmlns:a16="http://schemas.microsoft.com/office/drawing/2014/main" id="{3860DF7E-F49E-4E22-94A6-EBF0BEED73D4}"/>
              </a:ext>
            </a:extLst>
          </p:cNvPr>
          <p:cNvSpPr>
            <a:spLocks noGrp="1"/>
          </p:cNvSpPr>
          <p:nvPr>
            <p:ph type="body" sz="quarter" idx="18"/>
          </p:nvPr>
        </p:nvSpPr>
        <p:spPr>
          <a:xfrm>
            <a:off x="6245204" y="4372938"/>
            <a:ext cx="2532888" cy="1231106"/>
          </a:xfrm>
        </p:spPr>
        <p:txBody>
          <a:bodyPr/>
          <a:lstStyle/>
          <a:p>
            <a:r>
              <a:rPr lang="en-US" sz="1600">
                <a:cs typeface="Segoe UI"/>
              </a:rPr>
              <a:t>A 3-month pilot to prove the concept and measure the impact would require a $250,000 investment </a:t>
            </a:r>
          </a:p>
          <a:p>
            <a:endParaRPr lang="en-US" sz="1600"/>
          </a:p>
        </p:txBody>
      </p:sp>
      <p:sp>
        <p:nvSpPr>
          <p:cNvPr id="23" name="Text Placeholder 8">
            <a:extLst>
              <a:ext uri="{FF2B5EF4-FFF2-40B4-BE49-F238E27FC236}">
                <a16:creationId xmlns:a16="http://schemas.microsoft.com/office/drawing/2014/main" id="{5144CE2F-7318-4D3B-A045-D8097F3AAB69}"/>
              </a:ext>
            </a:extLst>
          </p:cNvPr>
          <p:cNvSpPr>
            <a:spLocks noGrp="1"/>
          </p:cNvSpPr>
          <p:nvPr>
            <p:ph type="body" sz="quarter" idx="20"/>
          </p:nvPr>
        </p:nvSpPr>
        <p:spPr>
          <a:xfrm>
            <a:off x="9076500" y="4372938"/>
            <a:ext cx="2532888" cy="1231106"/>
          </a:xfrm>
        </p:spPr>
        <p:txBody>
          <a:bodyPr/>
          <a:lstStyle/>
          <a:p>
            <a:r>
              <a:rPr lang="en-US" sz="1600">
                <a:cs typeface="Segoe UI"/>
              </a:rPr>
              <a:t>Sustained through a subscription services offered to for-profit community colleges and hospitals</a:t>
            </a:r>
          </a:p>
        </p:txBody>
      </p:sp>
      <p:sp>
        <p:nvSpPr>
          <p:cNvPr id="2" name="TextBox 1">
            <a:extLst>
              <a:ext uri="{FF2B5EF4-FFF2-40B4-BE49-F238E27FC236}">
                <a16:creationId xmlns:a16="http://schemas.microsoft.com/office/drawing/2014/main" id="{96EBBAF4-33BD-4B81-BF59-29B7028BAC21}"/>
              </a:ext>
            </a:extLst>
          </p:cNvPr>
          <p:cNvSpPr txBox="1"/>
          <p:nvPr/>
        </p:nvSpPr>
        <p:spPr>
          <a:xfrm>
            <a:off x="4148033" y="6728822"/>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Tree>
    <p:extLst>
      <p:ext uri="{BB962C8B-B14F-4D97-AF65-F5344CB8AC3E}">
        <p14:creationId xmlns:p14="http://schemas.microsoft.com/office/powerpoint/2010/main" val="337262387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4E7A71E3-DF23-44D8-81FD-2A18A63E83A2}"/>
              </a:ext>
            </a:extLst>
          </p:cNvPr>
          <p:cNvSpPr>
            <a:spLocks noGrp="1"/>
          </p:cNvSpPr>
          <p:nvPr>
            <p:ph type="title"/>
          </p:nvPr>
        </p:nvSpPr>
        <p:spPr/>
        <p:txBody>
          <a:bodyPr/>
          <a:lstStyle/>
          <a:p>
            <a:r>
              <a:rPr lang="en-US"/>
              <a:t>Financials</a:t>
            </a:r>
          </a:p>
        </p:txBody>
      </p:sp>
      <p:pic>
        <p:nvPicPr>
          <p:cNvPr id="6" name="Picture 2">
            <a:extLst>
              <a:ext uri="{FF2B5EF4-FFF2-40B4-BE49-F238E27FC236}">
                <a16:creationId xmlns:a16="http://schemas.microsoft.com/office/drawing/2014/main" id="{C160F805-3988-4223-9DA7-F36312728355}"/>
              </a:ext>
            </a:extLst>
          </p:cNvPr>
          <p:cNvPicPr>
            <a:picLocks noGrp="1" noChangeAspect="1" noChangeArrowheads="1"/>
          </p:cNvPicPr>
          <p:nvPr>
            <p:ph sz="quarter" idx="10"/>
          </p:nvPr>
        </p:nvPicPr>
        <p:blipFill>
          <a:blip r:embed="rId2">
            <a:extLst>
              <a:ext uri="{28A0092B-C50C-407E-A947-70E740481C1C}">
                <a14:useLocalDpi xmlns:a14="http://schemas.microsoft.com/office/drawing/2010/main" val="0"/>
              </a:ext>
            </a:extLst>
          </a:blip>
          <a:srcRect/>
          <a:stretch>
            <a:fillRect/>
          </a:stretch>
        </p:blipFill>
        <p:spPr bwMode="auto">
          <a:xfrm>
            <a:off x="6533581" y="3551340"/>
            <a:ext cx="5422106" cy="304993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5298B89-F48B-4006-B7B3-D263E8B6D3D0}"/>
              </a:ext>
            </a:extLst>
          </p:cNvPr>
          <p:cNvSpPr txBox="1"/>
          <p:nvPr/>
        </p:nvSpPr>
        <p:spPr>
          <a:xfrm>
            <a:off x="6885531" y="690559"/>
            <a:ext cx="4718205" cy="2831544"/>
          </a:xfrm>
          <a:prstGeom prst="rect">
            <a:avLst/>
          </a:prstGeom>
          <a:noFill/>
        </p:spPr>
        <p:txBody>
          <a:bodyPr wrap="square" lIns="0" tIns="0" rIns="0" bIns="0" rtlCol="0" anchor="t">
            <a:spAutoFit/>
          </a:bodyPr>
          <a:lstStyle/>
          <a:p>
            <a:r>
              <a:rPr lang="en-US" sz="1600"/>
              <a:t>Funding and Revenue Plan</a:t>
            </a:r>
            <a:endParaRPr lang="en-US" sz="1600">
              <a:cs typeface="Segoe UI"/>
            </a:endParaRPr>
          </a:p>
          <a:p>
            <a:pPr marL="285750" indent="-285750">
              <a:buFont typeface="Arial" panose="020B0604020202020204" pitchFamily="34" charset="0"/>
              <a:buChar char="•"/>
            </a:pPr>
            <a:r>
              <a:rPr lang="en-US" sz="1400"/>
              <a:t>Target the Gates Foundation Pathway Grant for start-up funding </a:t>
            </a:r>
            <a:endParaRPr lang="en-US" sz="1400">
              <a:cs typeface="Segoe UI"/>
            </a:endParaRPr>
          </a:p>
          <a:p>
            <a:pPr marL="285750" indent="-285750">
              <a:buFont typeface="Arial" panose="020B0604020202020204" pitchFamily="34" charset="0"/>
              <a:buChar char="•"/>
            </a:pPr>
            <a:r>
              <a:rPr lang="en-US" sz="1400">
                <a:cs typeface="Segoe UI"/>
              </a:rPr>
              <a:t>Partner with VR firms for in-kind donation of VR equipment to lower costs; branding benefit given their target audience</a:t>
            </a:r>
          </a:p>
          <a:p>
            <a:pPr marL="285750" indent="-285750">
              <a:buFont typeface="Arial" panose="020B0604020202020204" pitchFamily="34" charset="0"/>
              <a:buChar char="•"/>
            </a:pPr>
            <a:r>
              <a:rPr lang="en-US" sz="1400">
                <a:cs typeface="Segoe UI"/>
              </a:rPr>
              <a:t>In pilot, partner with two local for profit community colleges with nursing program</a:t>
            </a:r>
          </a:p>
          <a:p>
            <a:pPr marL="742950" lvl="1" indent="-285750">
              <a:buFont typeface="Arial" panose="020B0604020202020204" pitchFamily="34" charset="0"/>
              <a:buChar char="•"/>
            </a:pPr>
            <a:r>
              <a:rPr lang="en-US" sz="1400">
                <a:cs typeface="Segoe UI"/>
              </a:rPr>
              <a:t>Offer the </a:t>
            </a:r>
            <a:r>
              <a:rPr lang="en-US" sz="1400" err="1">
                <a:cs typeface="Segoe UI"/>
              </a:rPr>
              <a:t>NERDSMobile</a:t>
            </a:r>
            <a:r>
              <a:rPr lang="en-US" sz="1400">
                <a:cs typeface="Segoe UI"/>
              </a:rPr>
              <a:t> on a subscription basis</a:t>
            </a:r>
          </a:p>
          <a:p>
            <a:pPr marL="742950" lvl="1" indent="-285750">
              <a:buFont typeface="Arial" panose="020B0604020202020204" pitchFamily="34" charset="0"/>
              <a:buChar char="•"/>
            </a:pPr>
            <a:r>
              <a:rPr lang="en-US" sz="1400">
                <a:cs typeface="Segoe UI"/>
              </a:rPr>
              <a:t>Per-day cost of $1,000, minimum five day </a:t>
            </a:r>
          </a:p>
          <a:p>
            <a:pPr marL="742950" lvl="1" indent="-285750">
              <a:buFont typeface="Arial" panose="020B0604020202020204" pitchFamily="34" charset="0"/>
              <a:buChar char="•"/>
            </a:pPr>
            <a:r>
              <a:rPr lang="en-US" sz="1400">
                <a:cs typeface="Segoe UI"/>
              </a:rPr>
              <a:t>Benefit to them is a lower cost recruitment channel that offers greater market reach</a:t>
            </a:r>
          </a:p>
          <a:p>
            <a:pPr marL="285750" indent="-285750">
              <a:buFont typeface="Arial" panose="020B0604020202020204" pitchFamily="34" charset="0"/>
              <a:buChar char="•"/>
            </a:pPr>
            <a:r>
              <a:rPr lang="en-US" sz="1400">
                <a:cs typeface="Segoe UI"/>
              </a:rPr>
              <a:t>Competition is diffuse</a:t>
            </a:r>
          </a:p>
        </p:txBody>
      </p:sp>
      <p:pic>
        <p:nvPicPr>
          <p:cNvPr id="5" name="Picture 4">
            <a:extLst>
              <a:ext uri="{FF2B5EF4-FFF2-40B4-BE49-F238E27FC236}">
                <a16:creationId xmlns:a16="http://schemas.microsoft.com/office/drawing/2014/main" id="{F60E4ACD-8C64-4CBE-96D5-0FC22F69A2FD}"/>
              </a:ext>
            </a:extLst>
          </p:cNvPr>
          <p:cNvPicPr>
            <a:picLocks noChangeAspect="1"/>
          </p:cNvPicPr>
          <p:nvPr/>
        </p:nvPicPr>
        <p:blipFill>
          <a:blip r:embed="rId3"/>
          <a:stretch>
            <a:fillRect/>
          </a:stretch>
        </p:blipFill>
        <p:spPr>
          <a:xfrm>
            <a:off x="588263" y="1113624"/>
            <a:ext cx="5561997" cy="5089354"/>
          </a:xfrm>
          <a:prstGeom prst="rect">
            <a:avLst/>
          </a:prstGeom>
        </p:spPr>
      </p:pic>
      <p:sp>
        <p:nvSpPr>
          <p:cNvPr id="2" name="TextBox 1">
            <a:extLst>
              <a:ext uri="{FF2B5EF4-FFF2-40B4-BE49-F238E27FC236}">
                <a16:creationId xmlns:a16="http://schemas.microsoft.com/office/drawing/2014/main" id="{BB2819A1-09E7-4B24-A74D-2763CA591EA6}"/>
              </a:ext>
            </a:extLst>
          </p:cNvPr>
          <p:cNvSpPr txBox="1"/>
          <p:nvPr/>
        </p:nvSpPr>
        <p:spPr>
          <a:xfrm>
            <a:off x="4148033" y="6728822"/>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Tree>
    <p:extLst>
      <p:ext uri="{BB962C8B-B14F-4D97-AF65-F5344CB8AC3E}">
        <p14:creationId xmlns:p14="http://schemas.microsoft.com/office/powerpoint/2010/main" val="424750997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60136-D59A-4D31-8EBF-ECE1E0A4765F}"/>
              </a:ext>
            </a:extLst>
          </p:cNvPr>
          <p:cNvSpPr>
            <a:spLocks noGrp="1"/>
          </p:cNvSpPr>
          <p:nvPr>
            <p:ph type="title"/>
          </p:nvPr>
        </p:nvSpPr>
        <p:spPr/>
        <p:txBody>
          <a:bodyPr/>
          <a:lstStyle/>
          <a:p>
            <a:r>
              <a:rPr lang="en-US">
                <a:cs typeface="Segoe UI"/>
              </a:rPr>
              <a:t>NERDS TEAM has over 150 years of experience</a:t>
            </a:r>
            <a:endParaRPr lang="en-US"/>
          </a:p>
        </p:txBody>
      </p:sp>
      <p:sp>
        <p:nvSpPr>
          <p:cNvPr id="3" name="TextBox 2">
            <a:extLst>
              <a:ext uri="{FF2B5EF4-FFF2-40B4-BE49-F238E27FC236}">
                <a16:creationId xmlns:a16="http://schemas.microsoft.com/office/drawing/2014/main" id="{42D8B224-EE04-45FD-B056-79328434281C}"/>
              </a:ext>
            </a:extLst>
          </p:cNvPr>
          <p:cNvSpPr txBox="1"/>
          <p:nvPr/>
        </p:nvSpPr>
        <p:spPr>
          <a:xfrm>
            <a:off x="376989" y="1083344"/>
            <a:ext cx="11450554" cy="4703339"/>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171450" indent="-171450">
              <a:lnSpc>
                <a:spcPct val="90000"/>
              </a:lnSpc>
              <a:spcBef>
                <a:spcPts val="50"/>
              </a:spcBef>
              <a:spcAft>
                <a:spcPts val="600"/>
              </a:spcAft>
              <a:buFont typeface="Arial"/>
              <a:buChar char="•"/>
            </a:pPr>
            <a:r>
              <a:rPr lang="en-US" sz="1100" b="1">
                <a:ea typeface="+mn-lt"/>
                <a:cs typeface="+mn-lt"/>
              </a:rPr>
              <a:t>Tony Ellis</a:t>
            </a:r>
            <a:r>
              <a:rPr lang="en-US" sz="1100">
                <a:ea typeface="+mn-lt"/>
                <a:cs typeface="+mn-lt"/>
              </a:rPr>
              <a:t> is a technology leader with an innovative and business mindset adept in creating impeccably architected, cost-effective, market-leading, industry-standard solutions for organizations of any size. As a Principal Cloud Solutions Architect at Microsoft, Tony leads a team of developers, engineers, and operational resources to help an organization achieve more with cloud solutions built on DevOps methodologies. His architect specializations include over 20 years’ experience focusing on datacenter modernization, while driving organizations to expose how they can do everything we do today faster, more scalable, more agile, and more efficient. </a:t>
            </a:r>
            <a:endParaRPr lang="en-US" sz="1100">
              <a:cs typeface="Segoe UI"/>
            </a:endParaRPr>
          </a:p>
          <a:p>
            <a:pPr marL="171450" indent="-171450">
              <a:spcBef>
                <a:spcPts val="50"/>
              </a:spcBef>
              <a:buFont typeface="Arial"/>
              <a:buChar char="•"/>
            </a:pPr>
            <a:r>
              <a:rPr lang="en-US" sz="1100" b="1" err="1">
                <a:ea typeface="+mn-lt"/>
                <a:cs typeface="+mn-lt"/>
              </a:rPr>
              <a:t>Maqsuda</a:t>
            </a:r>
            <a:r>
              <a:rPr lang="en-US" sz="1100" b="1">
                <a:ea typeface="+mn-lt"/>
                <a:cs typeface="+mn-lt"/>
              </a:rPr>
              <a:t> Kabir, RN</a:t>
            </a:r>
            <a:r>
              <a:rPr lang="en-US" sz="1100">
                <a:ea typeface="+mn-lt"/>
                <a:cs typeface="+mn-lt"/>
              </a:rPr>
              <a:t> Consultant/Frontend Engineer. I have been an RN for over 25 years in varied specialties. Recent career pivot to becoming a Frontend Engineer. This is my very first Nurse Hackathon experience and absolutely loving it! </a:t>
            </a:r>
          </a:p>
          <a:p>
            <a:pPr>
              <a:spcBef>
                <a:spcPts val="50"/>
              </a:spcBef>
            </a:pPr>
            <a:endParaRPr lang="en-US" sz="1100">
              <a:ea typeface="+mn-lt"/>
              <a:cs typeface="+mn-lt"/>
            </a:endParaRPr>
          </a:p>
          <a:p>
            <a:pPr marL="171450" indent="-171450">
              <a:spcBef>
                <a:spcPts val="50"/>
              </a:spcBef>
              <a:buFont typeface="Arial"/>
              <a:buChar char="•"/>
            </a:pPr>
            <a:r>
              <a:rPr lang="en-US" sz="1100" b="1">
                <a:ea typeface="+mn-lt"/>
                <a:cs typeface="+mn-lt"/>
              </a:rPr>
              <a:t>Ted Kim</a:t>
            </a:r>
            <a:r>
              <a:rPr lang="en-US" sz="1100">
                <a:ea typeface="+mn-lt"/>
                <a:cs typeface="+mn-lt"/>
              </a:rPr>
              <a:t> is a Microsoft Cloud Solution Architect with 15 years of experience in the Information Technology and Healthcare Industry. He holds an MBA from the University of North Carolina Chapel Hill Kenan-Flagler Business School where he focused his studies on leadership, analytics, and finance and is currently finishing his second undergraduate degree in Computer Science at Oregon State University.</a:t>
            </a:r>
          </a:p>
          <a:p>
            <a:pPr>
              <a:spcBef>
                <a:spcPts val="50"/>
              </a:spcBef>
            </a:pPr>
            <a:endParaRPr lang="en-US" sz="1100">
              <a:ea typeface="+mn-lt"/>
              <a:cs typeface="+mn-lt"/>
            </a:endParaRPr>
          </a:p>
          <a:p>
            <a:pPr marL="171450" indent="-171450">
              <a:spcBef>
                <a:spcPts val="50"/>
              </a:spcBef>
              <a:buFont typeface="Arial"/>
              <a:buChar char="•"/>
            </a:pPr>
            <a:r>
              <a:rPr lang="en-US" sz="1100" b="1" err="1">
                <a:ea typeface="+mn-lt"/>
                <a:cs typeface="+mn-lt"/>
              </a:rPr>
              <a:t>L'Wade</a:t>
            </a:r>
            <a:r>
              <a:rPr lang="en-US" sz="1100" b="1">
                <a:ea typeface="+mn-lt"/>
                <a:cs typeface="+mn-lt"/>
              </a:rPr>
              <a:t> Lewin </a:t>
            </a:r>
            <a:r>
              <a:rPr lang="en-US" sz="1100">
                <a:ea typeface="+mn-lt"/>
                <a:cs typeface="+mn-lt"/>
              </a:rPr>
              <a:t>is currently a Material Manager, has</a:t>
            </a:r>
            <a:r>
              <a:rPr lang="en-US" sz="1100" b="1">
                <a:ea typeface="+mn-lt"/>
                <a:cs typeface="+mn-lt"/>
              </a:rPr>
              <a:t> </a:t>
            </a:r>
            <a:r>
              <a:rPr lang="en-US" sz="1100">
                <a:ea typeface="+mn-lt"/>
                <a:cs typeface="+mn-lt"/>
              </a:rPr>
              <a:t>over twelve years’ experience within project and risk management, engine assembly, validation testing, labor and budget planning, and engineering design. My academic credentials include a B.S in Aerospace Engineering from Tuskegee University as well as an MBA from the Fox School of Business at Temple University </a:t>
            </a:r>
            <a:endParaRPr lang="en-US">
              <a:ea typeface="+mn-lt"/>
              <a:cs typeface="+mn-lt"/>
            </a:endParaRPr>
          </a:p>
          <a:p>
            <a:pPr>
              <a:spcBef>
                <a:spcPts val="50"/>
              </a:spcBef>
            </a:pPr>
            <a:endParaRPr lang="en-US" sz="1100">
              <a:ea typeface="+mn-lt"/>
              <a:cs typeface="+mn-lt"/>
            </a:endParaRPr>
          </a:p>
          <a:p>
            <a:pPr marL="171450" indent="-171450">
              <a:spcBef>
                <a:spcPts val="50"/>
              </a:spcBef>
              <a:buFont typeface="Arial"/>
              <a:buChar char="•"/>
            </a:pPr>
            <a:r>
              <a:rPr lang="en-US" sz="1100" b="1">
                <a:ea typeface="+mn-lt"/>
                <a:cs typeface="+mn-lt"/>
              </a:rPr>
              <a:t>Shaina Roe, RN</a:t>
            </a:r>
            <a:r>
              <a:rPr lang="en-US" sz="1100">
                <a:ea typeface="+mn-lt"/>
                <a:cs typeface="+mn-lt"/>
              </a:rPr>
              <a:t> is a new grad RN with over 2 years of experience on a telemetry/dialysis floor at a small community hospital. She is currently working on her BSN.</a:t>
            </a:r>
            <a:endParaRPr lang="en-US">
              <a:cs typeface="Segoe UI"/>
            </a:endParaRPr>
          </a:p>
          <a:p>
            <a:pPr>
              <a:spcBef>
                <a:spcPts val="50"/>
              </a:spcBef>
            </a:pPr>
            <a:endParaRPr lang="en-US" sz="1100" b="1">
              <a:ea typeface="+mn-lt"/>
              <a:cs typeface="+mn-lt"/>
            </a:endParaRPr>
          </a:p>
          <a:p>
            <a:pPr marL="171450" indent="-171450">
              <a:spcBef>
                <a:spcPts val="50"/>
              </a:spcBef>
              <a:buFont typeface="Arial"/>
              <a:buChar char="•"/>
            </a:pPr>
            <a:r>
              <a:rPr lang="en-US" sz="1100" b="1">
                <a:ea typeface="+mn-lt"/>
                <a:cs typeface="+mn-lt"/>
              </a:rPr>
              <a:t>Mary Rose Saint-Cyr </a:t>
            </a:r>
            <a:r>
              <a:rPr lang="en-US" sz="1100">
                <a:ea typeface="+mn-lt"/>
                <a:cs typeface="+mn-lt"/>
              </a:rPr>
              <a:t>is currently a nursing student at MGH Institute of Health Professions located in Boston, MA. She has over 7 years of experience managing grant-funded programs that help increase the number of minorities in the health professions by exposing first-generation, underrepresented, and economically disadvantaged students to the field of medicine. Ultimately, she wishes to serve as a psychiatric nurse practitioner and continue to champion healthcare workforce diversity initiatives.</a:t>
            </a:r>
            <a:endParaRPr lang="en-US">
              <a:ea typeface="+mn-lt"/>
              <a:cs typeface="+mn-lt"/>
            </a:endParaRPr>
          </a:p>
          <a:p>
            <a:pPr marL="171450" indent="-171450">
              <a:spcBef>
                <a:spcPts val="50"/>
              </a:spcBef>
              <a:buFont typeface="Arial"/>
              <a:buChar char="•"/>
            </a:pPr>
            <a:endParaRPr lang="en-US" sz="1100">
              <a:ea typeface="+mn-lt"/>
              <a:cs typeface="+mn-lt"/>
            </a:endParaRPr>
          </a:p>
          <a:p>
            <a:pPr marL="171450" indent="-171450">
              <a:spcBef>
                <a:spcPts val="50"/>
              </a:spcBef>
              <a:buFont typeface="Arial"/>
              <a:buChar char="•"/>
            </a:pPr>
            <a:r>
              <a:rPr lang="en-US" sz="1100" b="1">
                <a:ea typeface="+mn-lt"/>
                <a:cs typeface="+mn-lt"/>
              </a:rPr>
              <a:t>Lisa M. Stapleton</a:t>
            </a:r>
            <a:r>
              <a:rPr lang="en-US" sz="1100">
                <a:ea typeface="+mn-lt"/>
                <a:cs typeface="+mn-lt"/>
              </a:rPr>
              <a:t> brings 20+ years leadership experience in sales, marketing and customer success in technology firms, with a demonstrated ability to drive business outcomes.</a:t>
            </a:r>
            <a:endParaRPr lang="en-US">
              <a:cs typeface="Segoe UI"/>
            </a:endParaRPr>
          </a:p>
          <a:p>
            <a:pPr marL="171450" indent="-171450">
              <a:spcBef>
                <a:spcPts val="50"/>
              </a:spcBef>
              <a:buFont typeface="Arial"/>
              <a:buChar char="•"/>
            </a:pPr>
            <a:endParaRPr lang="en-US" sz="1100">
              <a:gradFill>
                <a:gsLst>
                  <a:gs pos="2917">
                    <a:schemeClr val="tx1"/>
                  </a:gs>
                  <a:gs pos="30000">
                    <a:schemeClr val="tx1"/>
                  </a:gs>
                </a:gsLst>
                <a:lin ang="5400000" scaled="0"/>
              </a:gradFill>
              <a:cs typeface="Segoe UI"/>
            </a:endParaRPr>
          </a:p>
          <a:p>
            <a:pPr marL="171450" indent="-171450">
              <a:spcBef>
                <a:spcPts val="50"/>
              </a:spcBef>
              <a:buFont typeface="Arial"/>
              <a:buChar char="•"/>
            </a:pPr>
            <a:r>
              <a:rPr lang="en-US" sz="1100" b="1">
                <a:gradFill>
                  <a:gsLst>
                    <a:gs pos="2917">
                      <a:schemeClr val="tx1"/>
                    </a:gs>
                    <a:gs pos="30000">
                      <a:schemeClr val="tx1"/>
                    </a:gs>
                  </a:gsLst>
                  <a:lin ang="5400000" scaled="0"/>
                </a:gradFill>
                <a:cs typeface="Segoe UI"/>
              </a:rPr>
              <a:t>Pramila Thapa</a:t>
            </a:r>
            <a:r>
              <a:rPr lang="en-US" sz="1100" b="1">
                <a:ea typeface="+mn-lt"/>
                <a:cs typeface="+mn-lt"/>
              </a:rPr>
              <a:t>, RN</a:t>
            </a:r>
            <a:r>
              <a:rPr lang="en-US" sz="1100">
                <a:ea typeface="+mn-lt"/>
                <a:cs typeface="+mn-lt"/>
              </a:rPr>
              <a:t> has </a:t>
            </a:r>
            <a:r>
              <a:rPr lang="en-US" sz="1100" err="1">
                <a:ea typeface="+mn-lt"/>
                <a:cs typeface="+mn-lt"/>
              </a:rPr>
              <a:t>B.Sc</a:t>
            </a:r>
            <a:r>
              <a:rPr lang="en-US" sz="1100">
                <a:ea typeface="+mn-lt"/>
                <a:cs typeface="+mn-lt"/>
              </a:rPr>
              <a:t> Nursing, </a:t>
            </a:r>
            <a:r>
              <a:rPr lang="en-US" sz="1100" err="1">
                <a:ea typeface="+mn-lt"/>
                <a:cs typeface="+mn-lt"/>
              </a:rPr>
              <a:t>M.Sc</a:t>
            </a:r>
            <a:r>
              <a:rPr lang="en-US" sz="1100">
                <a:ea typeface="+mn-lt"/>
                <a:cs typeface="+mn-lt"/>
              </a:rPr>
              <a:t> Nursing, Master in Public Administration, Bachelor of Education. Regarding work experiences: Nursing Education Development &amp; Administration consultant &amp; Hospital development and administration consultant</a:t>
            </a:r>
          </a:p>
        </p:txBody>
      </p:sp>
      <p:pic>
        <p:nvPicPr>
          <p:cNvPr id="5" name="Picture 5" descr="Tony Ellis is a technology leader with an innovative and business mindset adept in creating impeccably architected, cost-effective, market-leading, industry-standard solutions for organizations of any size. As a Principal Cloud Solutions Architect at Microsoft, Tony leads a team of developers, engineers, and operational resources to help an organization achieve more with cloud solutions built on DevOps methodologies. His architect specializations include over 20 years’ experience focusing on datacenter modernization, while driving organizations to expose how they can do everything we do today faster, more scalable, more agile, and more efficient. ">
            <a:extLst>
              <a:ext uri="{FF2B5EF4-FFF2-40B4-BE49-F238E27FC236}">
                <a16:creationId xmlns:a16="http://schemas.microsoft.com/office/drawing/2014/main" id="{4B3F15D8-E6A6-40FE-9BC2-37B2AC9B1C32}"/>
              </a:ext>
            </a:extLst>
          </p:cNvPr>
          <p:cNvPicPr>
            <a:picLocks noChangeAspect="1"/>
          </p:cNvPicPr>
          <p:nvPr/>
        </p:nvPicPr>
        <p:blipFill rotWithShape="1">
          <a:blip r:embed="rId2"/>
          <a:srcRect l="16585" r="20488" b="725"/>
          <a:stretch/>
        </p:blipFill>
        <p:spPr>
          <a:xfrm>
            <a:off x="850900" y="5562600"/>
            <a:ext cx="1026937" cy="1082711"/>
          </a:xfrm>
          <a:prstGeom prst="rect">
            <a:avLst/>
          </a:prstGeom>
        </p:spPr>
      </p:pic>
      <p:pic>
        <p:nvPicPr>
          <p:cNvPr id="6" name="Picture 6">
            <a:extLst>
              <a:ext uri="{FF2B5EF4-FFF2-40B4-BE49-F238E27FC236}">
                <a16:creationId xmlns:a16="http://schemas.microsoft.com/office/drawing/2014/main" id="{823D74FF-3709-4DA1-9CAD-91D1574A82A2}"/>
              </a:ext>
            </a:extLst>
          </p:cNvPr>
          <p:cNvPicPr>
            <a:picLocks noChangeAspect="1"/>
          </p:cNvPicPr>
          <p:nvPr/>
        </p:nvPicPr>
        <p:blipFill>
          <a:blip r:embed="rId3"/>
          <a:stretch>
            <a:fillRect/>
          </a:stretch>
        </p:blipFill>
        <p:spPr>
          <a:xfrm>
            <a:off x="3374608" y="5573796"/>
            <a:ext cx="1100137" cy="1076325"/>
          </a:xfrm>
          <a:prstGeom prst="rect">
            <a:avLst/>
          </a:prstGeom>
        </p:spPr>
      </p:pic>
      <p:pic>
        <p:nvPicPr>
          <p:cNvPr id="8" name="Picture 8">
            <a:extLst>
              <a:ext uri="{FF2B5EF4-FFF2-40B4-BE49-F238E27FC236}">
                <a16:creationId xmlns:a16="http://schemas.microsoft.com/office/drawing/2014/main" id="{7823AB5A-0E6F-4F38-A6D4-6B5DBB09E388}"/>
              </a:ext>
            </a:extLst>
          </p:cNvPr>
          <p:cNvPicPr>
            <a:picLocks noChangeAspect="1"/>
          </p:cNvPicPr>
          <p:nvPr/>
        </p:nvPicPr>
        <p:blipFill>
          <a:blip r:embed="rId4"/>
          <a:stretch>
            <a:fillRect/>
          </a:stretch>
        </p:blipFill>
        <p:spPr>
          <a:xfrm>
            <a:off x="6824746" y="5546573"/>
            <a:ext cx="996951" cy="1082646"/>
          </a:xfrm>
          <a:prstGeom prst="rect">
            <a:avLst/>
          </a:prstGeom>
        </p:spPr>
      </p:pic>
      <p:pic>
        <p:nvPicPr>
          <p:cNvPr id="4" name="Picture 6">
            <a:extLst>
              <a:ext uri="{FF2B5EF4-FFF2-40B4-BE49-F238E27FC236}">
                <a16:creationId xmlns:a16="http://schemas.microsoft.com/office/drawing/2014/main" id="{899A1468-082D-4606-8B3E-C935654B21F0}"/>
              </a:ext>
            </a:extLst>
          </p:cNvPr>
          <p:cNvPicPr>
            <a:picLocks noChangeAspect="1"/>
          </p:cNvPicPr>
          <p:nvPr/>
        </p:nvPicPr>
        <p:blipFill>
          <a:blip r:embed="rId5"/>
          <a:stretch>
            <a:fillRect/>
          </a:stretch>
        </p:blipFill>
        <p:spPr>
          <a:xfrm>
            <a:off x="2073024" y="5573796"/>
            <a:ext cx="1052514" cy="1076326"/>
          </a:xfrm>
          <a:prstGeom prst="rect">
            <a:avLst/>
          </a:prstGeom>
        </p:spPr>
      </p:pic>
      <p:pic>
        <p:nvPicPr>
          <p:cNvPr id="9" name="Picture 9">
            <a:extLst>
              <a:ext uri="{FF2B5EF4-FFF2-40B4-BE49-F238E27FC236}">
                <a16:creationId xmlns:a16="http://schemas.microsoft.com/office/drawing/2014/main" id="{DBF1E4C6-ADE9-4368-A8EE-647A1D80F6CB}"/>
              </a:ext>
            </a:extLst>
          </p:cNvPr>
          <p:cNvPicPr>
            <a:picLocks noChangeAspect="1"/>
          </p:cNvPicPr>
          <p:nvPr/>
        </p:nvPicPr>
        <p:blipFill>
          <a:blip r:embed="rId6"/>
          <a:stretch>
            <a:fillRect/>
          </a:stretch>
        </p:blipFill>
        <p:spPr>
          <a:xfrm>
            <a:off x="5759031" y="5544971"/>
            <a:ext cx="814389" cy="1085853"/>
          </a:xfrm>
          <a:prstGeom prst="rect">
            <a:avLst/>
          </a:prstGeom>
        </p:spPr>
      </p:pic>
      <p:pic>
        <p:nvPicPr>
          <p:cNvPr id="10" name="Picture 10">
            <a:extLst>
              <a:ext uri="{FF2B5EF4-FFF2-40B4-BE49-F238E27FC236}">
                <a16:creationId xmlns:a16="http://schemas.microsoft.com/office/drawing/2014/main" id="{32DAEA08-6581-44C9-8261-9B2D7EF88AD4}"/>
              </a:ext>
            </a:extLst>
          </p:cNvPr>
          <p:cNvPicPr>
            <a:picLocks noChangeAspect="1"/>
          </p:cNvPicPr>
          <p:nvPr/>
        </p:nvPicPr>
        <p:blipFill>
          <a:blip r:embed="rId7"/>
          <a:stretch>
            <a:fillRect/>
          </a:stretch>
        </p:blipFill>
        <p:spPr>
          <a:xfrm>
            <a:off x="4744602" y="5570621"/>
            <a:ext cx="731203" cy="1082676"/>
          </a:xfrm>
          <a:prstGeom prst="rect">
            <a:avLst/>
          </a:prstGeom>
        </p:spPr>
      </p:pic>
      <p:pic>
        <p:nvPicPr>
          <p:cNvPr id="11" name="Picture 11">
            <a:extLst>
              <a:ext uri="{FF2B5EF4-FFF2-40B4-BE49-F238E27FC236}">
                <a16:creationId xmlns:a16="http://schemas.microsoft.com/office/drawing/2014/main" id="{EB6CC693-8ED9-49A9-B0B7-1F37EC1D9567}"/>
              </a:ext>
            </a:extLst>
          </p:cNvPr>
          <p:cNvPicPr>
            <a:picLocks noChangeAspect="1"/>
          </p:cNvPicPr>
          <p:nvPr/>
        </p:nvPicPr>
        <p:blipFill>
          <a:blip r:embed="rId8"/>
          <a:stretch>
            <a:fillRect/>
          </a:stretch>
        </p:blipFill>
        <p:spPr>
          <a:xfrm>
            <a:off x="8176627" y="5548781"/>
            <a:ext cx="774701" cy="1078232"/>
          </a:xfrm>
          <a:prstGeom prst="rect">
            <a:avLst/>
          </a:prstGeom>
        </p:spPr>
      </p:pic>
      <p:pic>
        <p:nvPicPr>
          <p:cNvPr id="12" name="Picture 12" descr="A picture containing text, person, person&#10;&#10;Description automatically generated">
            <a:extLst>
              <a:ext uri="{FF2B5EF4-FFF2-40B4-BE49-F238E27FC236}">
                <a16:creationId xmlns:a16="http://schemas.microsoft.com/office/drawing/2014/main" id="{A1955A67-B76A-4054-AC00-831606D9A51F}"/>
              </a:ext>
            </a:extLst>
          </p:cNvPr>
          <p:cNvPicPr>
            <a:picLocks noChangeAspect="1"/>
          </p:cNvPicPr>
          <p:nvPr/>
        </p:nvPicPr>
        <p:blipFill>
          <a:blip r:embed="rId9"/>
          <a:stretch>
            <a:fillRect/>
          </a:stretch>
        </p:blipFill>
        <p:spPr>
          <a:xfrm>
            <a:off x="9253118" y="5550710"/>
            <a:ext cx="885826" cy="1074373"/>
          </a:xfrm>
          <a:prstGeom prst="rect">
            <a:avLst/>
          </a:prstGeom>
        </p:spPr>
      </p:pic>
      <p:sp>
        <p:nvSpPr>
          <p:cNvPr id="7" name="TextBox 6">
            <a:extLst>
              <a:ext uri="{FF2B5EF4-FFF2-40B4-BE49-F238E27FC236}">
                <a16:creationId xmlns:a16="http://schemas.microsoft.com/office/drawing/2014/main" id="{6FEDD273-E242-4F5B-A176-90B2BD769F16}"/>
              </a:ext>
            </a:extLst>
          </p:cNvPr>
          <p:cNvSpPr txBox="1"/>
          <p:nvPr/>
        </p:nvSpPr>
        <p:spPr>
          <a:xfrm>
            <a:off x="4148033" y="6728822"/>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Tree>
    <p:extLst>
      <p:ext uri="{BB962C8B-B14F-4D97-AF65-F5344CB8AC3E}">
        <p14:creationId xmlns:p14="http://schemas.microsoft.com/office/powerpoint/2010/main" val="24727924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DA60836-1374-48E5-BBEB-1BAD7655EF68}"/>
              </a:ext>
            </a:extLst>
          </p:cNvPr>
          <p:cNvPicPr>
            <a:picLocks noChangeAspect="1"/>
          </p:cNvPicPr>
          <p:nvPr/>
        </p:nvPicPr>
        <p:blipFill rotWithShape="1">
          <a:blip r:embed="rId3"/>
          <a:srcRect l="41970" r="-1" b="-1"/>
          <a:stretch/>
        </p:blipFill>
        <p:spPr>
          <a:xfrm>
            <a:off x="6229842" y="10"/>
            <a:ext cx="5962158" cy="6857990"/>
          </a:xfrm>
          <a:prstGeom prst="rect">
            <a:avLst/>
          </a:prstGeom>
          <a:noFill/>
        </p:spPr>
      </p:pic>
      <p:sp>
        <p:nvSpPr>
          <p:cNvPr id="4" name="TextBox 3">
            <a:extLst>
              <a:ext uri="{FF2B5EF4-FFF2-40B4-BE49-F238E27FC236}">
                <a16:creationId xmlns:a16="http://schemas.microsoft.com/office/drawing/2014/main" id="{45415F19-92D7-46C8-AC1A-419BDA9066D1}"/>
              </a:ext>
            </a:extLst>
          </p:cNvPr>
          <p:cNvSpPr txBox="1"/>
          <p:nvPr/>
        </p:nvSpPr>
        <p:spPr>
          <a:xfrm>
            <a:off x="455995" y="620428"/>
            <a:ext cx="5541959" cy="403137"/>
          </a:xfrm>
          <a:prstGeom prst="rect">
            <a:avLst/>
          </a:prstGeom>
        </p:spPr>
        <p:txBody>
          <a:bodyPr vert="horz" wrap="square" lIns="0" tIns="0" rIns="0" bIns="0" rtlCol="0" anchor="t">
            <a:normAutofit/>
          </a:bodyPr>
          <a:lstStyle/>
          <a:p>
            <a:pPr defTabSz="914367">
              <a:lnSpc>
                <a:spcPts val="3137"/>
              </a:lnSpc>
              <a:spcBef>
                <a:spcPct val="0"/>
              </a:spcBef>
              <a:spcAft>
                <a:spcPts val="600"/>
              </a:spcAft>
            </a:pPr>
            <a:r>
              <a:rPr lang="en-US" sz="2745" b="0" kern="1200" cap="none" spc="-49" baseline="0">
                <a:ln w="3175">
                  <a:noFill/>
                </a:ln>
                <a:effectLst/>
                <a:latin typeface="+mj-lt"/>
                <a:ea typeface="+mn-ea"/>
                <a:cs typeface="Segoe UI" pitchFamily="34" charset="0"/>
              </a:rPr>
              <a:t>What is NERDS?</a:t>
            </a:r>
          </a:p>
        </p:txBody>
      </p:sp>
      <p:sp>
        <p:nvSpPr>
          <p:cNvPr id="2" name="TextBox 1">
            <a:extLst>
              <a:ext uri="{FF2B5EF4-FFF2-40B4-BE49-F238E27FC236}">
                <a16:creationId xmlns:a16="http://schemas.microsoft.com/office/drawing/2014/main" id="{C8CAE9AF-E80C-4983-B283-F5322289F956}"/>
              </a:ext>
            </a:extLst>
          </p:cNvPr>
          <p:cNvSpPr txBox="1"/>
          <p:nvPr/>
        </p:nvSpPr>
        <p:spPr>
          <a:xfrm>
            <a:off x="455996" y="1883332"/>
            <a:ext cx="5541958" cy="3409104"/>
          </a:xfrm>
          <a:prstGeom prst="rect">
            <a:avLst/>
          </a:prstGeom>
        </p:spPr>
        <p:txBody>
          <a:bodyPr vert="horz" wrap="square" lIns="0" tIns="0" rIns="0" bIns="0" rtlCol="0" anchor="t">
            <a:noAutofit/>
          </a:bodyPr>
          <a:lstStyle/>
          <a:p>
            <a:pPr defTabSz="914367">
              <a:lnSpc>
                <a:spcPts val="1765"/>
              </a:lnSpc>
              <a:spcAft>
                <a:spcPts val="600"/>
              </a:spcAft>
              <a:buSzPct val="90000"/>
            </a:pPr>
            <a:r>
              <a:rPr lang="en-US" sz="1600"/>
              <a:t>NERDS uses virtual reality to simulate engaging, immersive, relevant experiences for potential candidates to explore nursing as a career.   </a:t>
            </a:r>
          </a:p>
          <a:p>
            <a:pPr marL="171450" lvl="2" indent="-171450" defTabSz="914367">
              <a:lnSpc>
                <a:spcPts val="1765"/>
              </a:lnSpc>
              <a:spcAft>
                <a:spcPts val="600"/>
              </a:spcAft>
              <a:buSzPct val="90000"/>
              <a:buFont typeface="Arial" panose="020B0604020202020204" pitchFamily="34" charset="0"/>
              <a:buChar char="•"/>
            </a:pPr>
            <a:r>
              <a:rPr lang="en-US" sz="1600"/>
              <a:t>Team-based, “Escape room” scenarios </a:t>
            </a:r>
            <a:r>
              <a:rPr lang="en-US" sz="1600" b="0" i="0">
                <a:effectLst/>
              </a:rPr>
              <a:t>(from entry level to</a:t>
            </a:r>
            <a:r>
              <a:rPr lang="en-US" sz="1600"/>
              <a:t> executives, "C-Suite"),</a:t>
            </a:r>
            <a:r>
              <a:rPr lang="en-US" sz="1600" b="0" i="0">
                <a:effectLst/>
              </a:rPr>
              <a:t> to be able to connect to people doing the job I am curious about.</a:t>
            </a:r>
            <a:br>
              <a:rPr lang="en-US" sz="1600" b="0" i="0">
                <a:effectLst/>
              </a:rPr>
            </a:br>
            <a:endParaRPr lang="en-US" sz="1600" b="0" i="0">
              <a:effectLst/>
              <a:cs typeface="Segoe UI"/>
            </a:endParaRPr>
          </a:p>
          <a:p>
            <a:pPr marL="171450" lvl="2" indent="-171450" defTabSz="914367">
              <a:lnSpc>
                <a:spcPts val="1765"/>
              </a:lnSpc>
              <a:spcAft>
                <a:spcPts val="600"/>
              </a:spcAft>
              <a:buSzPct val="90000"/>
              <a:buFont typeface="Arial" panose="020B0604020202020204" pitchFamily="34" charset="0"/>
              <a:buChar char="•"/>
            </a:pPr>
            <a:r>
              <a:rPr lang="en-US" sz="1600"/>
              <a:t>Middle and high school students can schedule virtual reality experiences demonstrating the variety of nursing specialties – from cruise ship nurse to army nursing to nursing informatics – and scenarios (e.g., ER/ICU).  </a:t>
            </a:r>
            <a:br>
              <a:rPr lang="en-US" sz="1600"/>
            </a:br>
            <a:endParaRPr lang="en-US" sz="1600"/>
          </a:p>
          <a:p>
            <a:pPr marL="171450" lvl="2" indent="-171450" defTabSz="914367">
              <a:lnSpc>
                <a:spcPts val="1765"/>
              </a:lnSpc>
              <a:spcAft>
                <a:spcPts val="600"/>
              </a:spcAft>
              <a:buSzPct val="90000"/>
              <a:buFont typeface="Arial" panose="020B0604020202020204" pitchFamily="34" charset="0"/>
              <a:buChar char="•"/>
            </a:pPr>
            <a:r>
              <a:rPr lang="en-US" sz="1600"/>
              <a:t>NERDS brings to life the expanded array of options available for nurses, showing </a:t>
            </a:r>
            <a:r>
              <a:rPr lang="en-US" sz="1600" i="1"/>
              <a:t>people who look like me.</a:t>
            </a:r>
            <a:br>
              <a:rPr lang="en-US" sz="1600" i="1"/>
            </a:br>
            <a:endParaRPr lang="en-US" sz="1600" i="1">
              <a:cs typeface="Segoe UI Semibold"/>
            </a:endParaRPr>
          </a:p>
          <a:p>
            <a:pPr marL="171450" lvl="2" indent="-171450" defTabSz="914367">
              <a:lnSpc>
                <a:spcPts val="1765"/>
              </a:lnSpc>
              <a:spcAft>
                <a:spcPts val="600"/>
              </a:spcAft>
              <a:buSzPct val="90000"/>
              <a:buFont typeface="Arial" panose="020B0604020202020204" pitchFamily="34" charset="0"/>
              <a:buChar char="•"/>
            </a:pPr>
            <a:r>
              <a:rPr lang="en-US" sz="1600">
                <a:cs typeface="Segoe UI Semibold"/>
              </a:rPr>
              <a:t>NERDS brings these experiences to students where they are: schools and community centers via a </a:t>
            </a:r>
            <a:r>
              <a:rPr lang="en-US" sz="1600" err="1">
                <a:cs typeface="Segoe UI Semibold"/>
              </a:rPr>
              <a:t>NERDSMobile</a:t>
            </a:r>
            <a:r>
              <a:rPr lang="en-US" sz="1600">
                <a:cs typeface="Segoe UI Semibold"/>
              </a:rPr>
              <a:t> or </a:t>
            </a:r>
            <a:r>
              <a:rPr lang="en-US" sz="1600" err="1">
                <a:cs typeface="Segoe UI Semibold"/>
              </a:rPr>
              <a:t>NERDSPods</a:t>
            </a:r>
            <a:r>
              <a:rPr lang="en-US" sz="1600">
                <a:cs typeface="Segoe UI Semibold"/>
              </a:rPr>
              <a:t>.</a:t>
            </a:r>
          </a:p>
          <a:p>
            <a:pPr marL="628650" lvl="3" indent="-171450" defTabSz="914367">
              <a:lnSpc>
                <a:spcPts val="1764"/>
              </a:lnSpc>
              <a:spcAft>
                <a:spcPts val="600"/>
              </a:spcAft>
              <a:buSzPct val="90000"/>
              <a:buFont typeface="Arial" panose="020B0604020202020204" pitchFamily="34" charset="0"/>
              <a:buChar char="•"/>
            </a:pPr>
            <a:endParaRPr lang="en-US" sz="1600">
              <a:cs typeface="Segoe UI"/>
            </a:endParaRPr>
          </a:p>
        </p:txBody>
      </p:sp>
      <p:sp>
        <p:nvSpPr>
          <p:cNvPr id="10" name="Text Placeholder 4">
            <a:extLst>
              <a:ext uri="{FF2B5EF4-FFF2-40B4-BE49-F238E27FC236}">
                <a16:creationId xmlns:a16="http://schemas.microsoft.com/office/drawing/2014/main" id="{BD5AFF57-7289-4BD1-80D0-19437AB89747}"/>
              </a:ext>
            </a:extLst>
          </p:cNvPr>
          <p:cNvSpPr>
            <a:spLocks noGrp="1"/>
          </p:cNvSpPr>
          <p:nvPr>
            <p:ph type="body" sz="quarter" idx="14"/>
          </p:nvPr>
        </p:nvSpPr>
        <p:spPr>
          <a:xfrm>
            <a:off x="455997" y="1442296"/>
            <a:ext cx="5201855" cy="307777"/>
          </a:xfrm>
        </p:spPr>
        <p:txBody>
          <a:bodyPr/>
          <a:lstStyle/>
          <a:p>
            <a:r>
              <a:rPr lang="en-US" sz="2000">
                <a:solidFill>
                  <a:schemeClr val="tx2"/>
                </a:solidFill>
              </a:rPr>
              <a:t>Nurse Escalator Recruitment Delivery System</a:t>
            </a:r>
            <a:endParaRPr lang="en-US"/>
          </a:p>
        </p:txBody>
      </p:sp>
      <p:sp>
        <p:nvSpPr>
          <p:cNvPr id="3" name="TextBox 2">
            <a:extLst>
              <a:ext uri="{FF2B5EF4-FFF2-40B4-BE49-F238E27FC236}">
                <a16:creationId xmlns:a16="http://schemas.microsoft.com/office/drawing/2014/main" id="{CDCF1326-8E96-4BA1-A8DB-04822131F747}"/>
              </a:ext>
            </a:extLst>
          </p:cNvPr>
          <p:cNvSpPr txBox="1"/>
          <p:nvPr/>
        </p:nvSpPr>
        <p:spPr>
          <a:xfrm>
            <a:off x="4148033" y="6728822"/>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Tree>
    <p:extLst>
      <p:ext uri="{BB962C8B-B14F-4D97-AF65-F5344CB8AC3E}">
        <p14:creationId xmlns:p14="http://schemas.microsoft.com/office/powerpoint/2010/main" val="36733812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8442B6-E8BA-472F-8921-C0A394660D45}"/>
              </a:ext>
            </a:extLst>
          </p:cNvPr>
          <p:cNvSpPr>
            <a:spLocks noGrp="1"/>
          </p:cNvSpPr>
          <p:nvPr>
            <p:ph type="title"/>
          </p:nvPr>
        </p:nvSpPr>
        <p:spPr>
          <a:xfrm>
            <a:off x="838200" y="365125"/>
            <a:ext cx="11234738" cy="1325563"/>
          </a:xfrm>
        </p:spPr>
        <p:txBody>
          <a:bodyPr/>
          <a:lstStyle/>
          <a:p>
            <a:r>
              <a:rPr lang="en-US"/>
              <a:t>Bill and Melinda Gates Foundation Grant Application</a:t>
            </a:r>
          </a:p>
        </p:txBody>
      </p:sp>
      <p:sp>
        <p:nvSpPr>
          <p:cNvPr id="5" name="Content Placeholder 4">
            <a:extLst>
              <a:ext uri="{FF2B5EF4-FFF2-40B4-BE49-F238E27FC236}">
                <a16:creationId xmlns:a16="http://schemas.microsoft.com/office/drawing/2014/main" id="{F95DC2E4-FF3C-457C-89B5-FFAD567A4ED2}"/>
              </a:ext>
            </a:extLst>
          </p:cNvPr>
          <p:cNvSpPr>
            <a:spLocks noGrp="1"/>
          </p:cNvSpPr>
          <p:nvPr>
            <p:ph idx="1"/>
          </p:nvPr>
        </p:nvSpPr>
        <p:spPr>
          <a:xfrm>
            <a:off x="838200" y="1825624"/>
            <a:ext cx="10810208" cy="4802319"/>
          </a:xfrm>
        </p:spPr>
        <p:txBody>
          <a:bodyPr>
            <a:normAutofit fontScale="77500" lnSpcReduction="20000"/>
          </a:bodyPr>
          <a:lstStyle/>
          <a:p>
            <a:r>
              <a:rPr lang="en-US" sz="3300"/>
              <a:t>U.S. Education is one of the Foundation’s strategic investment areas.</a:t>
            </a:r>
          </a:p>
          <a:p>
            <a:pPr lvl="1"/>
            <a:r>
              <a:rPr lang="en-US" sz="2800" b="1"/>
              <a:t>NERDS would fall under the Pathways category: </a:t>
            </a:r>
            <a:r>
              <a:rPr lang="en-US" sz="2800" b="0" i="0">
                <a:solidFill>
                  <a:srgbClr val="000000"/>
                </a:solidFill>
                <a:effectLst/>
                <a:latin typeface="Noto Sans"/>
              </a:rPr>
              <a:t>We aim to ensure that Black and Latino students and students experiencing poverty receive support at every stage of their education-to-career pathway. This means ensuring access not only to postsecondary education—resulting in a college degree—but also to tools, resources, support, and relationships that can help them discover a path, stay on it, and ultimately thrive in their adult life.</a:t>
            </a:r>
            <a:endParaRPr lang="en-US" sz="2800"/>
          </a:p>
          <a:p>
            <a:r>
              <a:rPr lang="en-US" sz="3300"/>
              <a:t>Need to wait for right RFP Challenge to be available in order to be eligible for a grant or work with an organization that is already aligned with the Foundation.</a:t>
            </a:r>
          </a:p>
          <a:p>
            <a:pPr lvl="1"/>
            <a:r>
              <a:rPr lang="en-US" sz="2800" b="1"/>
              <a:t>Example of past Challenge: </a:t>
            </a:r>
            <a:r>
              <a:rPr lang="en-US" sz="2800" i="0">
                <a:solidFill>
                  <a:srgbClr val="1E1E1E"/>
                </a:solidFill>
                <a:effectLst/>
              </a:rPr>
              <a:t>Reinventing Teaching and School Leadership: Preparing Youth with the 21st Century Skills Needed for a Knowledge Economy</a:t>
            </a:r>
          </a:p>
          <a:p>
            <a:pPr lvl="1"/>
            <a:r>
              <a:rPr lang="en-US" sz="2800" b="1"/>
              <a:t>Example Awarded Grant: </a:t>
            </a:r>
            <a:r>
              <a:rPr lang="en-US" sz="2800" i="0">
                <a:solidFill>
                  <a:srgbClr val="1E1E1E"/>
                </a:solidFill>
                <a:effectLst/>
              </a:rPr>
              <a:t>Bringing STEM to Elementary School Teachers Using a Digital Platform</a:t>
            </a:r>
          </a:p>
          <a:p>
            <a:pPr lvl="1"/>
            <a:endParaRPr lang="en-US"/>
          </a:p>
        </p:txBody>
      </p:sp>
      <p:sp>
        <p:nvSpPr>
          <p:cNvPr id="3" name="TextBox 2">
            <a:extLst>
              <a:ext uri="{FF2B5EF4-FFF2-40B4-BE49-F238E27FC236}">
                <a16:creationId xmlns:a16="http://schemas.microsoft.com/office/drawing/2014/main" id="{2186BE57-82D5-4A1A-87D3-184A457C4B49}"/>
              </a:ext>
            </a:extLst>
          </p:cNvPr>
          <p:cNvSpPr txBox="1"/>
          <p:nvPr/>
        </p:nvSpPr>
        <p:spPr>
          <a:xfrm>
            <a:off x="4148033" y="6728822"/>
            <a:ext cx="2743200" cy="12311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solidFill>
                  <a:schemeClr val="bg1">
                    <a:lumMod val="50000"/>
                  </a:schemeClr>
                </a:solidFill>
              </a:rPr>
              <a:t>3.04 Team NERDS</a:t>
            </a:r>
            <a:endParaRPr lang="en-US" sz="800">
              <a:solidFill>
                <a:schemeClr val="bg1">
                  <a:lumMod val="50000"/>
                </a:schemeClr>
              </a:solidFill>
              <a:cs typeface="Segoe UI"/>
            </a:endParaRPr>
          </a:p>
        </p:txBody>
      </p:sp>
    </p:spTree>
    <p:extLst>
      <p:ext uri="{BB962C8B-B14F-4D97-AF65-F5344CB8AC3E}">
        <p14:creationId xmlns:p14="http://schemas.microsoft.com/office/powerpoint/2010/main" val="1853223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 id="{6EBC1780-4FF8-4E39-849E-2FF97B5286EF}" vid="{6F57EEFF-A8C4-4D4D-9F49-E7D1555203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c9eb48b0-55c0-4136-9a14-95a4b93c410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00169298A3BE84CB4D0CA0E22B29DCD" ma:contentTypeVersion="12" ma:contentTypeDescription="Create a new document." ma:contentTypeScope="" ma:versionID="b5b8f6143b92c8625255cb4a7449e5e2">
  <xsd:schema xmlns:xsd="http://www.w3.org/2001/XMLSchema" xmlns:xs="http://www.w3.org/2001/XMLSchema" xmlns:p="http://schemas.microsoft.com/office/2006/metadata/properties" xmlns:ns2="c9eb48b0-55c0-4136-9a14-95a4b93c410d" xmlns:ns3="cd127e96-09a0-4747-8627-828af7202ae3" targetNamespace="http://schemas.microsoft.com/office/2006/metadata/properties" ma:root="true" ma:fieldsID="282cedc90c93cbff5349c8245aae7d12" ns2:_="" ns3:_="">
    <xsd:import namespace="c9eb48b0-55c0-4136-9a14-95a4b93c410d"/>
    <xsd:import namespace="cd127e96-09a0-4747-8627-828af7202ae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eb48b0-55c0-4136-9a14-95a4b93c41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d127e96-09a0-4747-8627-828af7202ae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DB9782-9A60-42AF-B185-DA370EF537F1}">
  <ds:schemaRefs>
    <ds:schemaRef ds:uri="9c64d62f-54af-43a6-b5f8-d8835af0814e"/>
    <ds:schemaRef ds:uri="b9d7778f-af3c-402e-9a4d-f35366657dd8"/>
    <ds:schemaRef ds:uri="c9eb48b0-55c0-4136-9a14-95a4b93c410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518EFCB-FD6F-49A1-9084-DCCCA5D5DDB4}">
  <ds:schemaRefs>
    <ds:schemaRef ds:uri="http://schemas.microsoft.com/sharepoint/v3/contenttype/forms"/>
  </ds:schemaRefs>
</ds:datastoreItem>
</file>

<file path=customXml/itemProps3.xml><?xml version="1.0" encoding="utf-8"?>
<ds:datastoreItem xmlns:ds="http://schemas.openxmlformats.org/officeDocument/2006/customXml" ds:itemID="{588AE5AF-7337-4A57-B2B5-0DD8E525E39F}">
  <ds:schemaRefs>
    <ds:schemaRef ds:uri="c9eb48b0-55c0-4136-9a14-95a4b93c410d"/>
    <ds:schemaRef ds:uri="cd127e96-09a0-4747-8627-828af7202ae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0</Slides>
  <Notes>3</Notes>
  <HiddenSlides>0</HiddenSlide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White Template</vt:lpstr>
      <vt:lpstr>PowerPoint Presentation</vt:lpstr>
      <vt:lpstr>The Need for Recruiting Diverse Talent to Nursing Escalated trends already in place </vt:lpstr>
      <vt:lpstr>Nickel Wallace </vt:lpstr>
      <vt:lpstr>PowerPoint Presentation</vt:lpstr>
      <vt:lpstr>Capture middle and high school students in diverse communities with a compelling experience of nursing</vt:lpstr>
      <vt:lpstr>Financials</vt:lpstr>
      <vt:lpstr>NERDS TEAM has over 150 years of experience</vt:lpstr>
      <vt:lpstr>PowerPoint Presentation</vt:lpstr>
      <vt:lpstr>Bill and Melinda Gates Foundation Grant Application</vt:lpstr>
      <vt:lpstr>Appendi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ffany Shaw</dc:creator>
  <cp:revision>2</cp:revision>
  <dcterms:created xsi:type="dcterms:W3CDTF">2021-01-05T23:02:31Z</dcterms:created>
  <dcterms:modified xsi:type="dcterms:W3CDTF">2021-05-18T16:1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0169298A3BE84CB4D0CA0E22B29DCD</vt:lpwstr>
  </property>
</Properties>
</file>